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57" r:id="rId2"/>
    <p:sldId id="305" r:id="rId3"/>
    <p:sldId id="308" r:id="rId4"/>
    <p:sldId id="309" r:id="rId5"/>
    <p:sldId id="325" r:id="rId6"/>
    <p:sldId id="326" r:id="rId7"/>
    <p:sldId id="327" r:id="rId8"/>
    <p:sldId id="324" r:id="rId9"/>
    <p:sldId id="310" r:id="rId10"/>
    <p:sldId id="311" r:id="rId11"/>
    <p:sldId id="315" r:id="rId12"/>
    <p:sldId id="319" r:id="rId13"/>
    <p:sldId id="321" r:id="rId14"/>
    <p:sldId id="331" r:id="rId15"/>
    <p:sldId id="332" r:id="rId16"/>
    <p:sldId id="339" r:id="rId17"/>
    <p:sldId id="338" r:id="rId18"/>
    <p:sldId id="278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84EA3"/>
    <a:srgbClr val="E7AE0A"/>
    <a:srgbClr val="7D7A7A"/>
    <a:srgbClr val="D23B84"/>
    <a:srgbClr val="006C66"/>
    <a:srgbClr val="E7EBEA"/>
    <a:srgbClr val="2F728A"/>
    <a:srgbClr val="3A706D"/>
    <a:srgbClr val="D9D9D9"/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60" d="100"/>
          <a:sy n="60" d="100"/>
        </p:scale>
        <p:origin x="72" y="14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2B3967-9BEF-4906-ABF1-730774EC29D8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20D358-E944-480F-9D1B-DA226AE76F66}">
      <dgm:prSet phldrT="[Text]" custT="1"/>
      <dgm:spPr/>
      <dgm:t>
        <a:bodyPr/>
        <a:lstStyle/>
        <a:p>
          <a:r>
            <a:rPr lang="de-DE" sz="2400" dirty="0"/>
            <a:t>TFR </a:t>
          </a:r>
          <a:r>
            <a:rPr lang="de-DE" sz="2400" dirty="0" err="1"/>
            <a:t>forecasts</a:t>
          </a:r>
          <a:r>
            <a:rPr lang="de-DE" sz="2400" dirty="0"/>
            <a:t> </a:t>
          </a:r>
          <a:r>
            <a:rPr lang="de-DE" sz="2400" dirty="0" err="1"/>
            <a:t>with</a:t>
          </a:r>
          <a:r>
            <a:rPr lang="de-DE" sz="2400" dirty="0"/>
            <a:t> </a:t>
          </a:r>
          <a:r>
            <a:rPr lang="de-DE" sz="2400" dirty="0" err="1"/>
            <a:t>empirical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7ADE2BA4-9695-4E0D-963C-BDD347F92F68}" type="parTrans" cxnId="{08F529A1-BDBF-44F1-AAE4-C12FABCA8305}">
      <dgm:prSet/>
      <dgm:spPr/>
      <dgm:t>
        <a:bodyPr/>
        <a:lstStyle/>
        <a:p>
          <a:endParaRPr lang="en-US"/>
        </a:p>
      </dgm:t>
    </dgm:pt>
    <dgm:pt modelId="{36EEEACC-220E-4D49-9342-CC6465A62D3D}" type="sibTrans" cxnId="{08F529A1-BDBF-44F1-AAE4-C12FABCA8305}">
      <dgm:prSet/>
      <dgm:spPr/>
      <dgm:t>
        <a:bodyPr/>
        <a:lstStyle/>
        <a:p>
          <a:endParaRPr lang="en-US"/>
        </a:p>
      </dgm:t>
    </dgm:pt>
    <dgm:pt modelId="{966D1D8E-B961-42BC-900E-0D751FF2B19C}">
      <dgm:prSet phldrT="[Text]" custT="1"/>
      <dgm:spPr/>
      <dgm:t>
        <a:bodyPr/>
        <a:lstStyle/>
        <a:p>
          <a:r>
            <a:rPr lang="de-DE" sz="1900" dirty="0"/>
            <a:t>Up </a:t>
          </a:r>
          <a:r>
            <a:rPr lang="de-DE" sz="1900" dirty="0" err="1"/>
            <a:t>to</a:t>
          </a:r>
          <a:r>
            <a:rPr lang="de-DE" sz="1900" dirty="0"/>
            <a:t> 2050</a:t>
          </a:r>
          <a:endParaRPr lang="en-US" sz="1900" dirty="0"/>
        </a:p>
      </dgm:t>
    </dgm:pt>
    <dgm:pt modelId="{F16DE5A1-CCE9-46FD-9A81-411100AE6181}" type="parTrans" cxnId="{366B6253-C507-4F9C-9D7F-0DE7ED3AAEAD}">
      <dgm:prSet/>
      <dgm:spPr/>
      <dgm:t>
        <a:bodyPr/>
        <a:lstStyle/>
        <a:p>
          <a:endParaRPr lang="en-US"/>
        </a:p>
      </dgm:t>
    </dgm:pt>
    <dgm:pt modelId="{B9187FE0-5ED6-46D1-BE89-A8D07F67069E}" type="sibTrans" cxnId="{366B6253-C507-4F9C-9D7F-0DE7ED3AAEAD}">
      <dgm:prSet/>
      <dgm:spPr/>
      <dgm:t>
        <a:bodyPr/>
        <a:lstStyle/>
        <a:p>
          <a:endParaRPr lang="en-US"/>
        </a:p>
      </dgm:t>
    </dgm:pt>
    <dgm:pt modelId="{02C47C7D-1490-4FD6-BEFB-D1D95F448A91}">
      <dgm:prSet phldrT="[Text]" custT="1"/>
      <dgm:spPr/>
      <dgm:t>
        <a:bodyPr/>
        <a:lstStyle/>
        <a:p>
          <a:r>
            <a:rPr lang="de-DE" sz="2400" dirty="0" err="1"/>
            <a:t>Quantifica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distributi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forecast</a:t>
          </a:r>
          <a:r>
            <a:rPr lang="de-DE" sz="2400" dirty="0"/>
            <a:t> </a:t>
          </a:r>
          <a:r>
            <a:rPr lang="de-DE" sz="2400" dirty="0" err="1"/>
            <a:t>errors</a:t>
          </a:r>
          <a:endParaRPr lang="en-US" sz="2400" dirty="0"/>
        </a:p>
      </dgm:t>
    </dgm:pt>
    <dgm:pt modelId="{6B949D44-D625-45FD-9E5E-467160C00FEE}" type="parTrans" cxnId="{1D535312-67FA-4224-8EDD-74357B974F69}">
      <dgm:prSet/>
      <dgm:spPr/>
      <dgm:t>
        <a:bodyPr/>
        <a:lstStyle/>
        <a:p>
          <a:endParaRPr lang="en-US"/>
        </a:p>
      </dgm:t>
    </dgm:pt>
    <dgm:pt modelId="{5F61C68C-981F-4AF2-B4F3-8450134508B2}" type="sibTrans" cxnId="{1D535312-67FA-4224-8EDD-74357B974F69}">
      <dgm:prSet/>
      <dgm:spPr/>
      <dgm:t>
        <a:bodyPr/>
        <a:lstStyle/>
        <a:p>
          <a:endParaRPr lang="en-US"/>
        </a:p>
      </dgm:t>
    </dgm:pt>
    <dgm:pt modelId="{EF363B98-256D-4A80-A1D8-DFD5596B977D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 </a:t>
          </a:r>
          <a:r>
            <a:rPr lang="de-DE" sz="1900" dirty="0" err="1"/>
            <a:t>forecasts</a:t>
          </a:r>
          <a:r>
            <a:rPr lang="de-DE" sz="1900" dirty="0"/>
            <a:t> </a:t>
          </a:r>
          <a:r>
            <a:rPr lang="de-DE" sz="1900" dirty="0" err="1"/>
            <a:t>based</a:t>
          </a:r>
          <a:r>
            <a:rPr lang="de-DE" sz="1900" dirty="0"/>
            <a:t> on: </a:t>
          </a:r>
          <a:r>
            <a:rPr lang="de-DE" sz="1900" dirty="0" err="1"/>
            <a:t>extrapolative</a:t>
          </a:r>
          <a:r>
            <a:rPr lang="de-DE" sz="1900" dirty="0"/>
            <a:t> </a:t>
          </a:r>
          <a:r>
            <a:rPr lang="de-DE" sz="1900" dirty="0" err="1"/>
            <a:t>models</a:t>
          </a:r>
          <a:r>
            <a:rPr lang="de-DE" sz="1900" dirty="0"/>
            <a:t> and </a:t>
          </a:r>
          <a:r>
            <a:rPr lang="de-DE" sz="1900" dirty="0" err="1"/>
            <a:t>scenario-based</a:t>
          </a:r>
          <a:r>
            <a:rPr lang="de-DE" sz="1900" dirty="0"/>
            <a:t> </a:t>
          </a:r>
          <a:r>
            <a:rPr lang="de-DE" sz="1900" dirty="0" err="1"/>
            <a:t>models</a:t>
          </a:r>
          <a:endParaRPr lang="en-US" sz="1900" dirty="0"/>
        </a:p>
      </dgm:t>
    </dgm:pt>
    <dgm:pt modelId="{78A65AD0-5C51-464E-A444-55DE6D386D8E}" type="parTrans" cxnId="{B2482541-CD6B-47CD-8B6E-EF3DD1601FD4}">
      <dgm:prSet/>
      <dgm:spPr/>
      <dgm:t>
        <a:bodyPr/>
        <a:lstStyle/>
        <a:p>
          <a:endParaRPr lang="en-US"/>
        </a:p>
      </dgm:t>
    </dgm:pt>
    <dgm:pt modelId="{53FDF1C1-2A71-4EC3-9F7F-726F8756E233}" type="sibTrans" cxnId="{B2482541-CD6B-47CD-8B6E-EF3DD1601FD4}">
      <dgm:prSet/>
      <dgm:spPr/>
      <dgm:t>
        <a:bodyPr/>
        <a:lstStyle/>
        <a:p>
          <a:endParaRPr lang="en-US"/>
        </a:p>
      </dgm:t>
    </dgm:pt>
    <dgm:pt modelId="{CE4CC708-A7D9-47E2-A70A-03448562BB3E}">
      <dgm:prSet phldrT="[Text]" custT="1"/>
      <dgm:spPr/>
      <dgm:t>
        <a:bodyPr/>
        <a:lstStyle/>
        <a:p>
          <a:r>
            <a:rPr lang="de-DE" sz="2400" dirty="0" err="1"/>
            <a:t>Comparison</a:t>
          </a:r>
          <a:r>
            <a:rPr lang="de-DE" sz="2400" dirty="0"/>
            <a:t> </a:t>
          </a:r>
          <a:r>
            <a:rPr lang="de-DE" sz="2400" dirty="0" err="1"/>
            <a:t>of</a:t>
          </a:r>
          <a:r>
            <a:rPr lang="de-DE" sz="2400" dirty="0"/>
            <a:t> </a:t>
          </a:r>
          <a:r>
            <a:rPr lang="de-DE" sz="2400" dirty="0" err="1"/>
            <a:t>prediction</a:t>
          </a:r>
          <a:r>
            <a:rPr lang="de-DE" sz="2400" dirty="0"/>
            <a:t> </a:t>
          </a:r>
          <a:r>
            <a:rPr lang="de-DE" sz="2400" dirty="0" err="1"/>
            <a:t>intervals</a:t>
          </a:r>
          <a:endParaRPr lang="en-US" sz="2400" dirty="0"/>
        </a:p>
      </dgm:t>
    </dgm:pt>
    <dgm:pt modelId="{9F809F13-FF46-4734-84D2-461301CF4B2A}" type="parTrans" cxnId="{C2C97984-BFD1-41C6-ADFA-EC3E4857FD0E}">
      <dgm:prSet/>
      <dgm:spPr/>
      <dgm:t>
        <a:bodyPr/>
        <a:lstStyle/>
        <a:p>
          <a:endParaRPr lang="en-US"/>
        </a:p>
      </dgm:t>
    </dgm:pt>
    <dgm:pt modelId="{DAB9EE50-D0DF-485C-85AA-D9694EBABBFB}" type="sibTrans" cxnId="{C2C97984-BFD1-41C6-ADFA-EC3E4857FD0E}">
      <dgm:prSet/>
      <dgm:spPr/>
      <dgm:t>
        <a:bodyPr/>
        <a:lstStyle/>
        <a:p>
          <a:endParaRPr lang="en-US"/>
        </a:p>
      </dgm:t>
    </dgm:pt>
    <dgm:pt modelId="{4BBB6F58-F462-43C0-8B20-C430C7D0B9EE}">
      <dgm:prSet phldrT="[Text]" custT="1"/>
      <dgm:spPr/>
      <dgm:t>
        <a:bodyPr/>
        <a:lstStyle/>
        <a:p>
          <a:r>
            <a:rPr lang="de-DE" sz="1900" dirty="0"/>
            <a:t>Model-</a:t>
          </a:r>
          <a:r>
            <a:rPr lang="de-DE" sz="1900" dirty="0" err="1"/>
            <a:t>based</a:t>
          </a:r>
          <a:r>
            <a:rPr lang="de-DE" sz="1900" dirty="0"/>
            <a:t> PIs,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</a:t>
          </a:r>
          <a:r>
            <a:rPr lang="de-DE" sz="1900" dirty="0" err="1"/>
            <a:t>cross</a:t>
          </a:r>
          <a:r>
            <a:rPr lang="de-DE" sz="1900" dirty="0"/>
            <a:t>-validation and</a:t>
          </a:r>
          <a:br>
            <a:rPr lang="de-DE" sz="1900" dirty="0"/>
          </a:br>
          <a:r>
            <a:rPr lang="de-DE" sz="1900" dirty="0" err="1"/>
            <a:t>empirical</a:t>
          </a:r>
          <a:r>
            <a:rPr lang="de-DE" sz="1900" dirty="0"/>
            <a:t> PIs </a:t>
          </a:r>
          <a:r>
            <a:rPr lang="de-DE" sz="1900" dirty="0" err="1"/>
            <a:t>based</a:t>
          </a:r>
          <a:r>
            <a:rPr lang="de-DE" sz="1900" dirty="0"/>
            <a:t> on expert </a:t>
          </a:r>
          <a:r>
            <a:rPr lang="de-DE" sz="1900" dirty="0" err="1"/>
            <a:t>forecasts</a:t>
          </a:r>
          <a:r>
            <a:rPr lang="de-DE" sz="1900" dirty="0"/>
            <a:t>   </a:t>
          </a:r>
          <a:endParaRPr lang="en-US" sz="1900" dirty="0"/>
        </a:p>
      </dgm:t>
    </dgm:pt>
    <dgm:pt modelId="{D066D6A7-E286-4497-B5B0-8BE04A1D3A21}" type="parTrans" cxnId="{C8CADC17-6716-406A-8A2D-E52B26C4EFD4}">
      <dgm:prSet/>
      <dgm:spPr/>
      <dgm:t>
        <a:bodyPr/>
        <a:lstStyle/>
        <a:p>
          <a:endParaRPr lang="en-US"/>
        </a:p>
      </dgm:t>
    </dgm:pt>
    <dgm:pt modelId="{1947C9AF-F4FB-450E-B371-6808E6B96E33}" type="sibTrans" cxnId="{C8CADC17-6716-406A-8A2D-E52B26C4EFD4}">
      <dgm:prSet/>
      <dgm:spPr/>
      <dgm:t>
        <a:bodyPr/>
        <a:lstStyle/>
        <a:p>
          <a:endParaRPr lang="en-US"/>
        </a:p>
      </dgm:t>
    </dgm:pt>
    <dgm:pt modelId="{6648F1AD-CB48-475D-AD8F-B31AC681B220}">
      <dgm:prSet phldrT="[Text]" custT="1"/>
      <dgm:spPr/>
      <dgm:t>
        <a:bodyPr/>
        <a:lstStyle/>
        <a:p>
          <a:r>
            <a:rPr lang="de-DE" sz="1900" dirty="0" err="1"/>
            <a:t>For</a:t>
          </a:r>
          <a:r>
            <a:rPr lang="de-DE" sz="1900" dirty="0"/>
            <a:t>: </a:t>
          </a:r>
          <a:r>
            <a:rPr lang="de-DE" sz="1900" dirty="0" err="1"/>
            <a:t>Sweden</a:t>
          </a:r>
          <a:r>
            <a:rPr lang="de-DE" sz="1900" dirty="0"/>
            <a:t>, </a:t>
          </a:r>
          <a:r>
            <a:rPr lang="de-DE" sz="1900" dirty="0" err="1"/>
            <a:t>Denmark</a:t>
          </a:r>
          <a:r>
            <a:rPr lang="de-DE" sz="1900" dirty="0"/>
            <a:t>, </a:t>
          </a:r>
          <a:r>
            <a:rPr lang="de-DE" sz="1900" dirty="0" err="1"/>
            <a:t>Norway</a:t>
          </a:r>
          <a:r>
            <a:rPr lang="de-DE" sz="1900" dirty="0"/>
            <a:t>, and </a:t>
          </a:r>
          <a:r>
            <a:rPr lang="de-DE" sz="1900" b="0" dirty="0" err="1"/>
            <a:t>Finland</a:t>
          </a:r>
          <a:endParaRPr lang="en-US" sz="1900" b="0" dirty="0"/>
        </a:p>
      </dgm:t>
    </dgm:pt>
    <dgm:pt modelId="{784A5EB6-AC85-452C-ABAA-E49E6DB0C654}" type="parTrans" cxnId="{1E1CE3B9-8C8A-4ECF-92ED-48D5DDBA3604}">
      <dgm:prSet/>
      <dgm:spPr/>
      <dgm:t>
        <a:bodyPr/>
        <a:lstStyle/>
        <a:p>
          <a:endParaRPr lang="en-US"/>
        </a:p>
      </dgm:t>
    </dgm:pt>
    <dgm:pt modelId="{943E57EC-B53A-4484-977D-8E1BDC58D7F6}" type="sibTrans" cxnId="{1E1CE3B9-8C8A-4ECF-92ED-48D5DDBA3604}">
      <dgm:prSet/>
      <dgm:spPr/>
      <dgm:t>
        <a:bodyPr/>
        <a:lstStyle/>
        <a:p>
          <a:endParaRPr lang="en-US"/>
        </a:p>
      </dgm:t>
    </dgm:pt>
    <dgm:pt modelId="{ECEDC368-A092-45C1-89D4-EEA4B2FABC50}" type="pres">
      <dgm:prSet presAssocID="{492B3967-9BEF-4906-ABF1-730774EC29D8}" presName="rootnode" presStyleCnt="0">
        <dgm:presLayoutVars>
          <dgm:chMax/>
          <dgm:chPref/>
          <dgm:dir/>
          <dgm:animLvl val="lvl"/>
        </dgm:presLayoutVars>
      </dgm:prSet>
      <dgm:spPr/>
    </dgm:pt>
    <dgm:pt modelId="{36226F52-944F-4F21-A106-44C008649C2C}" type="pres">
      <dgm:prSet presAssocID="{4E20D358-E944-480F-9D1B-DA226AE76F66}" presName="composite" presStyleCnt="0"/>
      <dgm:spPr/>
    </dgm:pt>
    <dgm:pt modelId="{46A904AC-81AB-46B2-9B74-CCEA57A66F7B}" type="pres">
      <dgm:prSet presAssocID="{4E20D358-E944-480F-9D1B-DA226AE76F66}" presName="bentUpArrow1" presStyleLbl="alignImgPlace1" presStyleIdx="0" presStyleCnt="2"/>
      <dgm:spPr/>
    </dgm:pt>
    <dgm:pt modelId="{806676B7-DD04-4BDF-9518-814D6FC580CE}" type="pres">
      <dgm:prSet presAssocID="{4E20D358-E944-480F-9D1B-DA226AE76F66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87B58347-93F4-40BB-A062-3BD2879DB421}" type="pres">
      <dgm:prSet presAssocID="{4E20D358-E944-480F-9D1B-DA226AE76F66}" presName="ChildText" presStyleLbl="revTx" presStyleIdx="0" presStyleCnt="3" custScaleX="131531" custLinFactNeighborX="18675" custLinFactNeighborY="8900">
        <dgm:presLayoutVars>
          <dgm:chMax val="0"/>
          <dgm:chPref val="0"/>
          <dgm:bulletEnabled val="1"/>
        </dgm:presLayoutVars>
      </dgm:prSet>
      <dgm:spPr/>
    </dgm:pt>
    <dgm:pt modelId="{E1F7DA8F-BF82-4F53-A9EC-D74F5C59C741}" type="pres">
      <dgm:prSet presAssocID="{36EEEACC-220E-4D49-9342-CC6465A62D3D}" presName="sibTrans" presStyleCnt="0"/>
      <dgm:spPr/>
    </dgm:pt>
    <dgm:pt modelId="{2BDD7E84-59EC-4D7C-AB68-A856EAF9CA99}" type="pres">
      <dgm:prSet presAssocID="{02C47C7D-1490-4FD6-BEFB-D1D95F448A91}" presName="composite" presStyleCnt="0"/>
      <dgm:spPr/>
    </dgm:pt>
    <dgm:pt modelId="{CEAFFFBA-4C86-4C54-B2C4-9D9D565D5775}" type="pres">
      <dgm:prSet presAssocID="{02C47C7D-1490-4FD6-BEFB-D1D95F448A91}" presName="bentUpArrow1" presStyleLbl="alignImgPlace1" presStyleIdx="1" presStyleCnt="2"/>
      <dgm:spPr/>
    </dgm:pt>
    <dgm:pt modelId="{8A0CCF32-98D2-417F-AABF-329AD79EBF95}" type="pres">
      <dgm:prSet presAssocID="{02C47C7D-1490-4FD6-BEFB-D1D95F448A91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B57F2520-F3C0-4942-A9EB-B96FED23571B}" type="pres">
      <dgm:prSet presAssocID="{02C47C7D-1490-4FD6-BEFB-D1D95F448A91}" presName="ChildText" presStyleLbl="revTx" presStyleIdx="1" presStyleCnt="3" custScaleX="177616" custLinFactNeighborX="42655" custLinFactNeighborY="1750">
        <dgm:presLayoutVars>
          <dgm:chMax val="0"/>
          <dgm:chPref val="0"/>
          <dgm:bulletEnabled val="1"/>
        </dgm:presLayoutVars>
      </dgm:prSet>
      <dgm:spPr/>
    </dgm:pt>
    <dgm:pt modelId="{59FB6DA1-04F5-45CF-B232-9BA39ACE0081}" type="pres">
      <dgm:prSet presAssocID="{5F61C68C-981F-4AF2-B4F3-8450134508B2}" presName="sibTrans" presStyleCnt="0"/>
      <dgm:spPr/>
    </dgm:pt>
    <dgm:pt modelId="{1CE28BF1-FDFE-41E0-9120-0125FDB9F694}" type="pres">
      <dgm:prSet presAssocID="{CE4CC708-A7D9-47E2-A70A-03448562BB3E}" presName="composite" presStyleCnt="0"/>
      <dgm:spPr/>
    </dgm:pt>
    <dgm:pt modelId="{4A48FBDE-03E4-4883-8030-B1F1AF83ACE4}" type="pres">
      <dgm:prSet presAssocID="{CE4CC708-A7D9-47E2-A70A-03448562BB3E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  <dgm:pt modelId="{91EFF2CD-6BEC-4254-B7C6-7771013CCB7E}" type="pres">
      <dgm:prSet presAssocID="{CE4CC708-A7D9-47E2-A70A-03448562BB3E}" presName="FinalChildText" presStyleLbl="revTx" presStyleIdx="2" presStyleCnt="3" custScaleX="165003" custLinFactNeighborX="38117" custLinFactNeighborY="-2333">
        <dgm:presLayoutVars>
          <dgm:chMax val="0"/>
          <dgm:chPref val="0"/>
          <dgm:bulletEnabled val="1"/>
        </dgm:presLayoutVars>
      </dgm:prSet>
      <dgm:spPr/>
    </dgm:pt>
  </dgm:ptLst>
  <dgm:cxnLst>
    <dgm:cxn modelId="{C2542D00-3EEC-4BD1-AFBF-DE83BEC9CA7D}" type="presOf" srcId="{02C47C7D-1490-4FD6-BEFB-D1D95F448A91}" destId="{8A0CCF32-98D2-417F-AABF-329AD79EBF95}" srcOrd="0" destOrd="0" presId="urn:microsoft.com/office/officeart/2005/8/layout/StepDownProcess"/>
    <dgm:cxn modelId="{1D535312-67FA-4224-8EDD-74357B974F69}" srcId="{492B3967-9BEF-4906-ABF1-730774EC29D8}" destId="{02C47C7D-1490-4FD6-BEFB-D1D95F448A91}" srcOrd="1" destOrd="0" parTransId="{6B949D44-D625-45FD-9E5E-467160C00FEE}" sibTransId="{5F61C68C-981F-4AF2-B4F3-8450134508B2}"/>
    <dgm:cxn modelId="{C8CADC17-6716-406A-8A2D-E52B26C4EFD4}" srcId="{CE4CC708-A7D9-47E2-A70A-03448562BB3E}" destId="{4BBB6F58-F462-43C0-8B20-C430C7D0B9EE}" srcOrd="0" destOrd="0" parTransId="{D066D6A7-E286-4497-B5B0-8BE04A1D3A21}" sibTransId="{1947C9AF-F4FB-450E-B371-6808E6B96E33}"/>
    <dgm:cxn modelId="{14C1C22E-03BC-4DC9-834B-1E3A432A0719}" type="presOf" srcId="{966D1D8E-B961-42BC-900E-0D751FF2B19C}" destId="{87B58347-93F4-40BB-A062-3BD2879DB421}" srcOrd="0" destOrd="0" presId="urn:microsoft.com/office/officeart/2005/8/layout/StepDownProcess"/>
    <dgm:cxn modelId="{B2482541-CD6B-47CD-8B6E-EF3DD1601FD4}" srcId="{02C47C7D-1490-4FD6-BEFB-D1D95F448A91}" destId="{EF363B98-256D-4A80-A1D8-DFD5596B977D}" srcOrd="0" destOrd="0" parTransId="{78A65AD0-5C51-464E-A444-55DE6D386D8E}" sibTransId="{53FDF1C1-2A71-4EC3-9F7F-726F8756E233}"/>
    <dgm:cxn modelId="{0A71334F-E99A-4BB1-B988-762E5D74C909}" type="presOf" srcId="{EF363B98-256D-4A80-A1D8-DFD5596B977D}" destId="{B57F2520-F3C0-4942-A9EB-B96FED23571B}" srcOrd="0" destOrd="0" presId="urn:microsoft.com/office/officeart/2005/8/layout/StepDownProcess"/>
    <dgm:cxn modelId="{90FD0471-AB79-4E0C-8848-6AC8DE02CCEF}" type="presOf" srcId="{6648F1AD-CB48-475D-AD8F-B31AC681B220}" destId="{87B58347-93F4-40BB-A062-3BD2879DB421}" srcOrd="0" destOrd="1" presId="urn:microsoft.com/office/officeart/2005/8/layout/StepDownProcess"/>
    <dgm:cxn modelId="{366B6253-C507-4F9C-9D7F-0DE7ED3AAEAD}" srcId="{4E20D358-E944-480F-9D1B-DA226AE76F66}" destId="{966D1D8E-B961-42BC-900E-0D751FF2B19C}" srcOrd="0" destOrd="0" parTransId="{F16DE5A1-CCE9-46FD-9A81-411100AE6181}" sibTransId="{B9187FE0-5ED6-46D1-BE89-A8D07F67069E}"/>
    <dgm:cxn modelId="{D546CD53-F20E-43C9-B540-65B9C73393EC}" type="presOf" srcId="{4E20D358-E944-480F-9D1B-DA226AE76F66}" destId="{806676B7-DD04-4BDF-9518-814D6FC580CE}" srcOrd="0" destOrd="0" presId="urn:microsoft.com/office/officeart/2005/8/layout/StepDownProcess"/>
    <dgm:cxn modelId="{C2C97984-BFD1-41C6-ADFA-EC3E4857FD0E}" srcId="{492B3967-9BEF-4906-ABF1-730774EC29D8}" destId="{CE4CC708-A7D9-47E2-A70A-03448562BB3E}" srcOrd="2" destOrd="0" parTransId="{9F809F13-FF46-4734-84D2-461301CF4B2A}" sibTransId="{DAB9EE50-D0DF-485C-85AA-D9694EBABBFB}"/>
    <dgm:cxn modelId="{08F529A1-BDBF-44F1-AAE4-C12FABCA8305}" srcId="{492B3967-9BEF-4906-ABF1-730774EC29D8}" destId="{4E20D358-E944-480F-9D1B-DA226AE76F66}" srcOrd="0" destOrd="0" parTransId="{7ADE2BA4-9695-4E0D-963C-BDD347F92F68}" sibTransId="{36EEEACC-220E-4D49-9342-CC6465A62D3D}"/>
    <dgm:cxn modelId="{914437B7-A23B-4006-B6D7-15A42C5F4F7F}" type="presOf" srcId="{4BBB6F58-F462-43C0-8B20-C430C7D0B9EE}" destId="{91EFF2CD-6BEC-4254-B7C6-7771013CCB7E}" srcOrd="0" destOrd="0" presId="urn:microsoft.com/office/officeart/2005/8/layout/StepDownProcess"/>
    <dgm:cxn modelId="{1E1CE3B9-8C8A-4ECF-92ED-48D5DDBA3604}" srcId="{4E20D358-E944-480F-9D1B-DA226AE76F66}" destId="{6648F1AD-CB48-475D-AD8F-B31AC681B220}" srcOrd="1" destOrd="0" parTransId="{784A5EB6-AC85-452C-ABAA-E49E6DB0C654}" sibTransId="{943E57EC-B53A-4484-977D-8E1BDC58D7F6}"/>
    <dgm:cxn modelId="{B19662CF-35CA-4807-88DA-A2FAF0A632C8}" type="presOf" srcId="{CE4CC708-A7D9-47E2-A70A-03448562BB3E}" destId="{4A48FBDE-03E4-4883-8030-B1F1AF83ACE4}" srcOrd="0" destOrd="0" presId="urn:microsoft.com/office/officeart/2005/8/layout/StepDownProcess"/>
    <dgm:cxn modelId="{D07BE6FA-5296-4C1B-BF9B-7BB2D3CC0A1F}" type="presOf" srcId="{492B3967-9BEF-4906-ABF1-730774EC29D8}" destId="{ECEDC368-A092-45C1-89D4-EEA4B2FABC50}" srcOrd="0" destOrd="0" presId="urn:microsoft.com/office/officeart/2005/8/layout/StepDownProcess"/>
    <dgm:cxn modelId="{38C30C41-A525-4757-A976-823F01D30185}" type="presParOf" srcId="{ECEDC368-A092-45C1-89D4-EEA4B2FABC50}" destId="{36226F52-944F-4F21-A106-44C008649C2C}" srcOrd="0" destOrd="0" presId="urn:microsoft.com/office/officeart/2005/8/layout/StepDownProcess"/>
    <dgm:cxn modelId="{5A8E1B94-5CBE-40A0-A45E-FD7DA081019E}" type="presParOf" srcId="{36226F52-944F-4F21-A106-44C008649C2C}" destId="{46A904AC-81AB-46B2-9B74-CCEA57A66F7B}" srcOrd="0" destOrd="0" presId="urn:microsoft.com/office/officeart/2005/8/layout/StepDownProcess"/>
    <dgm:cxn modelId="{76BDCC1D-8359-445C-85D0-0E3978BBF667}" type="presParOf" srcId="{36226F52-944F-4F21-A106-44C008649C2C}" destId="{806676B7-DD04-4BDF-9518-814D6FC580CE}" srcOrd="1" destOrd="0" presId="urn:microsoft.com/office/officeart/2005/8/layout/StepDownProcess"/>
    <dgm:cxn modelId="{59067644-2C80-4EF1-9FE4-FB00F52DD8DB}" type="presParOf" srcId="{36226F52-944F-4F21-A106-44C008649C2C}" destId="{87B58347-93F4-40BB-A062-3BD2879DB421}" srcOrd="2" destOrd="0" presId="urn:microsoft.com/office/officeart/2005/8/layout/StepDownProcess"/>
    <dgm:cxn modelId="{2D0C9C49-546F-4216-9762-032B40F21A20}" type="presParOf" srcId="{ECEDC368-A092-45C1-89D4-EEA4B2FABC50}" destId="{E1F7DA8F-BF82-4F53-A9EC-D74F5C59C741}" srcOrd="1" destOrd="0" presId="urn:microsoft.com/office/officeart/2005/8/layout/StepDownProcess"/>
    <dgm:cxn modelId="{3E7ACD46-B127-4340-B4EA-E26FDC6235AF}" type="presParOf" srcId="{ECEDC368-A092-45C1-89D4-EEA4B2FABC50}" destId="{2BDD7E84-59EC-4D7C-AB68-A856EAF9CA99}" srcOrd="2" destOrd="0" presId="urn:microsoft.com/office/officeart/2005/8/layout/StepDownProcess"/>
    <dgm:cxn modelId="{77989FB8-9439-4B3C-8929-3B4686D3B9BC}" type="presParOf" srcId="{2BDD7E84-59EC-4D7C-AB68-A856EAF9CA99}" destId="{CEAFFFBA-4C86-4C54-B2C4-9D9D565D5775}" srcOrd="0" destOrd="0" presId="urn:microsoft.com/office/officeart/2005/8/layout/StepDownProcess"/>
    <dgm:cxn modelId="{9EA338AF-EA67-4E9B-A30A-06F81D68B7CB}" type="presParOf" srcId="{2BDD7E84-59EC-4D7C-AB68-A856EAF9CA99}" destId="{8A0CCF32-98D2-417F-AABF-329AD79EBF95}" srcOrd="1" destOrd="0" presId="urn:microsoft.com/office/officeart/2005/8/layout/StepDownProcess"/>
    <dgm:cxn modelId="{AC6BD284-5DC3-4BC6-BEB8-24413B3FE77F}" type="presParOf" srcId="{2BDD7E84-59EC-4D7C-AB68-A856EAF9CA99}" destId="{B57F2520-F3C0-4942-A9EB-B96FED23571B}" srcOrd="2" destOrd="0" presId="urn:microsoft.com/office/officeart/2005/8/layout/StepDownProcess"/>
    <dgm:cxn modelId="{022E942D-2B5E-4124-B633-2CF0C7A2DADF}" type="presParOf" srcId="{ECEDC368-A092-45C1-89D4-EEA4B2FABC50}" destId="{59FB6DA1-04F5-45CF-B232-9BA39ACE0081}" srcOrd="3" destOrd="0" presId="urn:microsoft.com/office/officeart/2005/8/layout/StepDownProcess"/>
    <dgm:cxn modelId="{222FC2AE-5219-4576-B379-9422C815CE96}" type="presParOf" srcId="{ECEDC368-A092-45C1-89D4-EEA4B2FABC50}" destId="{1CE28BF1-FDFE-41E0-9120-0125FDB9F694}" srcOrd="4" destOrd="0" presId="urn:microsoft.com/office/officeart/2005/8/layout/StepDownProcess"/>
    <dgm:cxn modelId="{277085F6-346D-4757-8F3B-2AB82935C522}" type="presParOf" srcId="{1CE28BF1-FDFE-41E0-9120-0125FDB9F694}" destId="{4A48FBDE-03E4-4883-8030-B1F1AF83ACE4}" srcOrd="0" destOrd="0" presId="urn:microsoft.com/office/officeart/2005/8/layout/StepDownProcess"/>
    <dgm:cxn modelId="{54B42D88-C8E4-441B-8788-6CE4ECC939AA}" type="presParOf" srcId="{1CE28BF1-FDFE-41E0-9120-0125FDB9F694}" destId="{91EFF2CD-6BEC-4254-B7C6-7771013CCB7E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A904AC-81AB-46B2-9B74-CCEA57A66F7B}">
      <dsp:nvSpPr>
        <dsp:cNvPr id="0" name=""/>
        <dsp:cNvSpPr/>
      </dsp:nvSpPr>
      <dsp:spPr>
        <a:xfrm rot="5400000">
          <a:off x="1161099" y="1806752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676B7-DD04-4BDF-9518-814D6FC580CE}">
      <dsp:nvSpPr>
        <dsp:cNvPr id="0" name=""/>
        <dsp:cNvSpPr/>
      </dsp:nvSpPr>
      <dsp:spPr>
        <a:xfrm>
          <a:off x="737748" y="35429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FR </a:t>
          </a:r>
          <a:r>
            <a:rPr lang="de-DE" sz="2400" kern="1200" dirty="0" err="1"/>
            <a:t>forecasts</a:t>
          </a:r>
          <a:r>
            <a:rPr lang="de-DE" sz="2400" kern="1200" dirty="0"/>
            <a:t> </a:t>
          </a:r>
          <a:r>
            <a:rPr lang="de-DE" sz="2400" kern="1200" dirty="0" err="1"/>
            <a:t>with</a:t>
          </a:r>
          <a:r>
            <a:rPr lang="de-DE" sz="2400" kern="1200" dirty="0"/>
            <a:t> </a:t>
          </a:r>
          <a:r>
            <a:rPr lang="de-DE" sz="2400" kern="1200" dirty="0" err="1"/>
            <a:t>empirical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829679" y="127360"/>
        <a:ext cx="2506089" cy="1699016"/>
      </dsp:txXfrm>
    </dsp:sp>
    <dsp:sp modelId="{87B58347-93F4-40BB-A062-3BD2879DB421}">
      <dsp:nvSpPr>
        <dsp:cNvPr id="0" name=""/>
        <dsp:cNvSpPr/>
      </dsp:nvSpPr>
      <dsp:spPr>
        <a:xfrm>
          <a:off x="3484621" y="350447"/>
          <a:ext cx="2573291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Up </a:t>
          </a:r>
          <a:r>
            <a:rPr lang="de-DE" sz="1900" kern="1200" dirty="0" err="1"/>
            <a:t>to</a:t>
          </a:r>
          <a:r>
            <a:rPr lang="de-DE" sz="1900" kern="1200" dirty="0"/>
            <a:t> 2050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: </a:t>
          </a:r>
          <a:r>
            <a:rPr lang="de-DE" sz="1900" kern="1200" dirty="0" err="1"/>
            <a:t>Sweden</a:t>
          </a:r>
          <a:r>
            <a:rPr lang="de-DE" sz="1900" kern="1200" dirty="0"/>
            <a:t>, </a:t>
          </a:r>
          <a:r>
            <a:rPr lang="de-DE" sz="1900" kern="1200" dirty="0" err="1"/>
            <a:t>Denmark</a:t>
          </a:r>
          <a:r>
            <a:rPr lang="de-DE" sz="1900" kern="1200" dirty="0"/>
            <a:t>, </a:t>
          </a:r>
          <a:r>
            <a:rPr lang="de-DE" sz="1900" kern="1200" dirty="0" err="1"/>
            <a:t>Norway</a:t>
          </a:r>
          <a:r>
            <a:rPr lang="de-DE" sz="1900" kern="1200" dirty="0"/>
            <a:t>, and </a:t>
          </a:r>
          <a:r>
            <a:rPr lang="de-DE" sz="1900" b="0" kern="1200" dirty="0" err="1"/>
            <a:t>Finland</a:t>
          </a:r>
          <a:endParaRPr lang="en-US" sz="1900" b="0" kern="1200" dirty="0"/>
        </a:p>
      </dsp:txBody>
      <dsp:txXfrm>
        <a:off x="3484621" y="350447"/>
        <a:ext cx="2573291" cy="1521825"/>
      </dsp:txXfrm>
    </dsp:sp>
    <dsp:sp modelId="{CEAFFFBA-4C86-4C54-B2C4-9D9D565D5775}">
      <dsp:nvSpPr>
        <dsp:cNvPr id="0" name=""/>
        <dsp:cNvSpPr/>
      </dsp:nvSpPr>
      <dsp:spPr>
        <a:xfrm rot="5400000">
          <a:off x="3539405" y="3921846"/>
          <a:ext cx="1597916" cy="181917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CCF32-98D2-417F-AABF-329AD79EBF95}">
      <dsp:nvSpPr>
        <dsp:cNvPr id="0" name=""/>
        <dsp:cNvSpPr/>
      </dsp:nvSpPr>
      <dsp:spPr>
        <a:xfrm>
          <a:off x="3116054" y="2150523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Quantifica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distributi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forecast</a:t>
          </a:r>
          <a:r>
            <a:rPr lang="de-DE" sz="2400" kern="1200" dirty="0"/>
            <a:t> </a:t>
          </a:r>
          <a:r>
            <a:rPr lang="de-DE" sz="2400" kern="1200" dirty="0" err="1"/>
            <a:t>errors</a:t>
          </a:r>
          <a:endParaRPr lang="en-US" sz="2400" kern="1200" dirty="0"/>
        </a:p>
      </dsp:txBody>
      <dsp:txXfrm>
        <a:off x="3207985" y="2242454"/>
        <a:ext cx="2506089" cy="1699016"/>
      </dsp:txXfrm>
    </dsp:sp>
    <dsp:sp modelId="{B57F2520-F3C0-4942-A9EB-B96FED23571B}">
      <dsp:nvSpPr>
        <dsp:cNvPr id="0" name=""/>
        <dsp:cNvSpPr/>
      </dsp:nvSpPr>
      <dsp:spPr>
        <a:xfrm>
          <a:off x="5881268" y="2356731"/>
          <a:ext cx="3474904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 err="1"/>
            <a:t>For</a:t>
          </a:r>
          <a:r>
            <a:rPr lang="de-DE" sz="1900" kern="1200" dirty="0"/>
            <a:t> </a:t>
          </a:r>
          <a:r>
            <a:rPr lang="de-DE" sz="1900" kern="1200" dirty="0" err="1"/>
            <a:t>forecasts</a:t>
          </a:r>
          <a:r>
            <a:rPr lang="de-DE" sz="1900" kern="1200" dirty="0"/>
            <a:t> </a:t>
          </a:r>
          <a:r>
            <a:rPr lang="de-DE" sz="1900" kern="1200" dirty="0" err="1"/>
            <a:t>based</a:t>
          </a:r>
          <a:r>
            <a:rPr lang="de-DE" sz="1900" kern="1200" dirty="0"/>
            <a:t> on: </a:t>
          </a:r>
          <a:r>
            <a:rPr lang="de-DE" sz="1900" kern="1200" dirty="0" err="1"/>
            <a:t>extrapolative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r>
            <a:rPr lang="de-DE" sz="1900" kern="1200" dirty="0"/>
            <a:t> and </a:t>
          </a:r>
          <a:r>
            <a:rPr lang="de-DE" sz="1900" kern="1200" dirty="0" err="1"/>
            <a:t>scenario-based</a:t>
          </a:r>
          <a:r>
            <a:rPr lang="de-DE" sz="1900" kern="1200" dirty="0"/>
            <a:t> </a:t>
          </a:r>
          <a:r>
            <a:rPr lang="de-DE" sz="1900" kern="1200" dirty="0" err="1"/>
            <a:t>models</a:t>
          </a:r>
          <a:endParaRPr lang="en-US" sz="1900" kern="1200" dirty="0"/>
        </a:p>
      </dsp:txBody>
      <dsp:txXfrm>
        <a:off x="5881268" y="2356731"/>
        <a:ext cx="3474904" cy="1521825"/>
      </dsp:txXfrm>
    </dsp:sp>
    <dsp:sp modelId="{4A48FBDE-03E4-4883-8030-B1F1AF83ACE4}">
      <dsp:nvSpPr>
        <dsp:cNvPr id="0" name=""/>
        <dsp:cNvSpPr/>
      </dsp:nvSpPr>
      <dsp:spPr>
        <a:xfrm>
          <a:off x="5494360" y="4265617"/>
          <a:ext cx="2689951" cy="1882878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 err="1"/>
            <a:t>Comparison</a:t>
          </a:r>
          <a:r>
            <a:rPr lang="de-DE" sz="2400" kern="1200" dirty="0"/>
            <a:t> </a:t>
          </a:r>
          <a:r>
            <a:rPr lang="de-DE" sz="2400" kern="1200" dirty="0" err="1"/>
            <a:t>of</a:t>
          </a:r>
          <a:r>
            <a:rPr lang="de-DE" sz="2400" kern="1200" dirty="0"/>
            <a:t> </a:t>
          </a:r>
          <a:r>
            <a:rPr lang="de-DE" sz="2400" kern="1200" dirty="0" err="1"/>
            <a:t>prediction</a:t>
          </a:r>
          <a:r>
            <a:rPr lang="de-DE" sz="2400" kern="1200" dirty="0"/>
            <a:t> </a:t>
          </a:r>
          <a:r>
            <a:rPr lang="de-DE" sz="2400" kern="1200" dirty="0" err="1"/>
            <a:t>intervals</a:t>
          </a:r>
          <a:endParaRPr lang="en-US" sz="2400" kern="1200" dirty="0"/>
        </a:p>
      </dsp:txBody>
      <dsp:txXfrm>
        <a:off x="5586291" y="4357548"/>
        <a:ext cx="2506089" cy="1699016"/>
      </dsp:txXfrm>
    </dsp:sp>
    <dsp:sp modelId="{91EFF2CD-6BEC-4254-B7C6-7771013CCB7E}">
      <dsp:nvSpPr>
        <dsp:cNvPr id="0" name=""/>
        <dsp:cNvSpPr/>
      </dsp:nvSpPr>
      <dsp:spPr>
        <a:xfrm>
          <a:off x="8286195" y="4409688"/>
          <a:ext cx="3228142" cy="15218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900" kern="1200" dirty="0"/>
            <a:t>Model-</a:t>
          </a:r>
          <a:r>
            <a:rPr lang="de-DE" sz="1900" kern="1200" dirty="0" err="1"/>
            <a:t>based</a:t>
          </a:r>
          <a:r>
            <a:rPr lang="de-DE" sz="1900" kern="1200" dirty="0"/>
            <a:t> PIs,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</a:t>
          </a:r>
          <a:r>
            <a:rPr lang="de-DE" sz="1900" kern="1200" dirty="0" err="1"/>
            <a:t>cross</a:t>
          </a:r>
          <a:r>
            <a:rPr lang="de-DE" sz="1900" kern="1200" dirty="0"/>
            <a:t>-validation and</a:t>
          </a:r>
          <a:br>
            <a:rPr lang="de-DE" sz="1900" kern="1200" dirty="0"/>
          </a:br>
          <a:r>
            <a:rPr lang="de-DE" sz="1900" kern="1200" dirty="0" err="1"/>
            <a:t>empirical</a:t>
          </a:r>
          <a:r>
            <a:rPr lang="de-DE" sz="1900" kern="1200" dirty="0"/>
            <a:t> PIs </a:t>
          </a:r>
          <a:r>
            <a:rPr lang="de-DE" sz="1900" kern="1200" dirty="0" err="1"/>
            <a:t>based</a:t>
          </a:r>
          <a:r>
            <a:rPr lang="de-DE" sz="1900" kern="1200" dirty="0"/>
            <a:t> on expert </a:t>
          </a:r>
          <a:r>
            <a:rPr lang="de-DE" sz="1900" kern="1200" dirty="0" err="1"/>
            <a:t>forecasts</a:t>
          </a:r>
          <a:r>
            <a:rPr lang="de-DE" sz="1900" kern="1200" dirty="0"/>
            <a:t>   </a:t>
          </a:r>
          <a:endParaRPr lang="en-US" sz="1900" kern="1200" dirty="0"/>
        </a:p>
      </dsp:txBody>
      <dsp:txXfrm>
        <a:off x="8286195" y="4409688"/>
        <a:ext cx="3228142" cy="15218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10DB8-584E-46DB-B52B-04D3D316388D}" type="datetimeFigureOut">
              <a:rPr lang="de-DE" smtClean="0"/>
              <a:t>15.01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9B3245-6DC6-4AC9-BEA6-1211CF63BF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18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9B3245-6DC6-4AC9-BEA6-1211CF63BFB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030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40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ie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/Quelle angeb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15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54641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514336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657599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889184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538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402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0961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5537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97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891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577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4805679" y="813262"/>
            <a:ext cx="6438581" cy="5231476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716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Folie" r:id="rId21" imgW="384" imgH="385" progId="TCLayout.ActiveDocument.1">
                  <p:embed/>
                </p:oleObj>
              </mc:Choice>
              <mc:Fallback>
                <p:oleObj name="think-cell Folie" r:id="rId2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	 SHORT </a:t>
            </a:r>
            <a:r>
              <a:rPr lang="de-DE" dirty="0" err="1"/>
              <a:t>titlE</a:t>
            </a:r>
            <a:r>
              <a:rPr lang="de-DE" dirty="0"/>
              <a:t> | DD/MM/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5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5.svg"/><Relationship Id="rId7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doi.org/10.1111/j.1751-5823.2004.tb00220.x" TargetMode="Externa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urn.fi/URN:NBN:fi-fe2020091669848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www.sciencedirect.com/science/article/pii/0169207093900047" TargetMode="Externa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3CE18A-6271-4276-A7B9-17D448A30200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BCE5D1A6-3F3C-4B71-AA41-02BC21286D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13555F2-B6AB-452E-9225-0C6C3314DA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8B69D08-5F2D-4C09-8C90-DC173A0C5933}"/>
              </a:ext>
            </a:extLst>
          </p:cNvPr>
          <p:cNvSpPr/>
          <p:nvPr/>
        </p:nvSpPr>
        <p:spPr>
          <a:xfrm>
            <a:off x="1209674" y="2031819"/>
            <a:ext cx="9806660" cy="4093029"/>
          </a:xfrm>
          <a:prstGeom prst="rect">
            <a:avLst/>
          </a:prstGeom>
          <a:solidFill>
            <a:schemeClr val="tx2">
              <a:alpha val="61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0" y="2356527"/>
            <a:ext cx="9046489" cy="1226831"/>
          </a:xfrm>
        </p:spPr>
        <p:txBody>
          <a:bodyPr/>
          <a:lstStyle/>
          <a:p>
            <a:r>
              <a:rPr lang="en-US" sz="2400" cap="none" dirty="0"/>
              <a:t>Empirical Prediction Intervals for Forecasts of Nordic Fertility</a:t>
            </a:r>
            <a:br>
              <a:rPr lang="en-US" sz="2400" cap="none" dirty="0"/>
            </a:br>
            <a:br>
              <a:rPr lang="en-US" sz="2400" b="0" cap="none" dirty="0"/>
            </a:br>
            <a:r>
              <a:rPr lang="en-US" sz="2400" b="0" cap="none" dirty="0"/>
              <a:t>Preliminary Results of Work in Progress</a:t>
            </a:r>
            <a:endParaRPr lang="de-DE" sz="1900" b="0" cap="non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05508" y="4087528"/>
            <a:ext cx="6540133" cy="1886238"/>
          </a:xfrm>
        </p:spPr>
        <p:txBody>
          <a:bodyPr/>
          <a:lstStyle/>
          <a:p>
            <a:r>
              <a:rPr lang="de-DE" dirty="0"/>
              <a:t>Ricarda Duerst</a:t>
            </a:r>
            <a:r>
              <a:rPr lang="de-DE" baseline="30000" dirty="0"/>
              <a:t>1,2</a:t>
            </a:r>
            <a:r>
              <a:rPr lang="de-DE" dirty="0"/>
              <a:t>, Julia Hellstrand</a:t>
            </a:r>
            <a:r>
              <a:rPr lang="de-DE" baseline="30000" dirty="0"/>
              <a:t>1</a:t>
            </a:r>
            <a:r>
              <a:rPr lang="de-DE" dirty="0"/>
              <a:t>, Jonas Schöley</a:t>
            </a:r>
            <a:r>
              <a:rPr lang="de-DE" baseline="30000" dirty="0"/>
              <a:t>2</a:t>
            </a:r>
            <a:r>
              <a:rPr lang="de-DE" dirty="0"/>
              <a:t>, Mikko Myrskylä</a:t>
            </a:r>
            <a:r>
              <a:rPr lang="de-DE" baseline="30000" dirty="0"/>
              <a:t>1,2</a:t>
            </a:r>
          </a:p>
          <a:p>
            <a:r>
              <a:rPr lang="de-DE" baseline="30000" dirty="0"/>
              <a:t>1 </a:t>
            </a: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</a:t>
            </a:r>
            <a:br>
              <a:rPr lang="de-DE" dirty="0"/>
            </a:br>
            <a:r>
              <a:rPr lang="de-DE" baseline="30000" dirty="0"/>
              <a:t>2 </a:t>
            </a: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Research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FAC34E56-CD9F-4095-97A1-0ABEF28162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662"/>
          <a:stretch/>
        </p:blipFill>
        <p:spPr>
          <a:xfrm>
            <a:off x="557118" y="1455174"/>
            <a:ext cx="7486051" cy="48828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7118" y="1455174"/>
            <a:ext cx="7610337" cy="4881488"/>
          </a:xfr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99D1439-49FA-420E-909D-07E597D16AAE}"/>
              </a:ext>
            </a:extLst>
          </p:cNvPr>
          <p:cNvSpPr/>
          <p:nvPr/>
        </p:nvSpPr>
        <p:spPr>
          <a:xfrm>
            <a:off x="7368466" y="3515557"/>
            <a:ext cx="674703" cy="257453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A406ACF-788E-4943-B128-2D97715CB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728801"/>
              </p:ext>
            </p:extLst>
          </p:nvPr>
        </p:nvGraphicFramePr>
        <p:xfrm>
          <a:off x="7705817" y="1798748"/>
          <a:ext cx="4067472" cy="1845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868">
                  <a:extLst>
                    <a:ext uri="{9D8B030D-6E8A-4147-A177-3AD203B41FA5}">
                      <a16:colId xmlns:a16="http://schemas.microsoft.com/office/drawing/2014/main" val="178070844"/>
                    </a:ext>
                  </a:extLst>
                </a:gridCol>
                <a:gridCol w="1016868">
                  <a:extLst>
                    <a:ext uri="{9D8B030D-6E8A-4147-A177-3AD203B41FA5}">
                      <a16:colId xmlns:a16="http://schemas.microsoft.com/office/drawing/2014/main" val="1263677273"/>
                    </a:ext>
                  </a:extLst>
                </a:gridCol>
                <a:gridCol w="1016868">
                  <a:extLst>
                    <a:ext uri="{9D8B030D-6E8A-4147-A177-3AD203B41FA5}">
                      <a16:colId xmlns:a16="http://schemas.microsoft.com/office/drawing/2014/main" val="2017612856"/>
                    </a:ext>
                  </a:extLst>
                </a:gridCol>
                <a:gridCol w="1016868">
                  <a:extLst>
                    <a:ext uri="{9D8B030D-6E8A-4147-A177-3AD203B41FA5}">
                      <a16:colId xmlns:a16="http://schemas.microsoft.com/office/drawing/2014/main" val="1978657045"/>
                    </a:ext>
                  </a:extLst>
                </a:gridCol>
              </a:tblGrid>
              <a:tr h="52803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Training/</a:t>
                      </a:r>
                      <a:br>
                        <a:rPr lang="de-DE" sz="1200" dirty="0"/>
                      </a:br>
                      <a:r>
                        <a:rPr lang="de-DE" sz="1200" dirty="0"/>
                        <a:t>Test </a:t>
                      </a:r>
                      <a:r>
                        <a:rPr lang="de-DE" sz="1200" dirty="0" err="1"/>
                        <a:t>Length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Nr. </a:t>
                      </a:r>
                      <a:r>
                        <a:rPr lang="de-DE" sz="1200" dirty="0" err="1"/>
                        <a:t>of</a:t>
                      </a:r>
                      <a:r>
                        <a:rPr lang="de-DE" sz="1200" dirty="0"/>
                        <a:t> Series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Calibration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Year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164716"/>
                  </a:ext>
                </a:extLst>
              </a:tr>
              <a:tr h="287686">
                <a:tc>
                  <a:txBody>
                    <a:bodyPr/>
                    <a:lstStyle/>
                    <a:p>
                      <a:r>
                        <a:rPr lang="de-DE" sz="1200" dirty="0" err="1"/>
                        <a:t>Finla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2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939 - 2017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766130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7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891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93628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4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916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25923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i="0" dirty="0" err="1"/>
                        <a:t>Norway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30/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i="0" dirty="0"/>
                        <a:t>12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967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225040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5795625" y="197532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4681387">
            <a:off x="5112366" y="2055740"/>
            <a:ext cx="586104" cy="586104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E8434BE-1A78-44E4-97B4-F1EED7E6A6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A33DA4-C81B-4078-A4E4-D1191B3297C8}"/>
              </a:ext>
            </a:extLst>
          </p:cNvPr>
          <p:cNvSpPr txBox="1"/>
          <p:nvPr/>
        </p:nvSpPr>
        <p:spPr>
          <a:xfrm>
            <a:off x="8326570" y="4547623"/>
            <a:ext cx="2825966" cy="716735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Validation </a:t>
            </a:r>
            <a:r>
              <a:rPr lang="de-DE" sz="1600" dirty="0" err="1"/>
              <a:t>Years</a:t>
            </a:r>
            <a:r>
              <a:rPr lang="de-DE" sz="1600" dirty="0"/>
              <a:t>: 2018 – 2022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Application</a:t>
            </a:r>
            <a:r>
              <a:rPr lang="de-DE" sz="1600" dirty="0"/>
              <a:t> </a:t>
            </a:r>
            <a:r>
              <a:rPr lang="de-DE" sz="1600" dirty="0" err="1"/>
              <a:t>Years</a:t>
            </a:r>
            <a:r>
              <a:rPr lang="de-DE" sz="1600" dirty="0"/>
              <a:t>: 2023 – 2050</a:t>
            </a:r>
          </a:p>
        </p:txBody>
      </p:sp>
    </p:spTree>
    <p:extLst>
      <p:ext uri="{BB962C8B-B14F-4D97-AF65-F5344CB8AC3E}">
        <p14:creationId xmlns:p14="http://schemas.microsoft.com/office/powerpoint/2010/main" val="104543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3262"/>
            <a:ext cx="10468943" cy="1283824"/>
          </a:xfrm>
        </p:spPr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-validatio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C03BC693-791F-4036-B66B-44624D59071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7184" t="18016" r="33860" b="65444"/>
          <a:stretch/>
        </p:blipFill>
        <p:spPr>
          <a:xfrm>
            <a:off x="3677572" y="1270758"/>
            <a:ext cx="4722976" cy="1730365"/>
          </a:xfr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FC4C369-A607-4612-AB0C-2E9DF3644DDD}"/>
              </a:ext>
            </a:extLst>
          </p:cNvPr>
          <p:cNvSpPr txBox="1"/>
          <p:nvPr/>
        </p:nvSpPr>
        <p:spPr>
          <a:xfrm>
            <a:off x="8724900" y="1263844"/>
            <a:ext cx="1432932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200" b="1" dirty="0">
                <a:solidFill>
                  <a:srgbClr val="F8766D"/>
                </a:solidFill>
              </a:rPr>
              <a:t>Naive </a:t>
            </a:r>
            <a:r>
              <a:rPr lang="de-DE" sz="1200" b="1" dirty="0" err="1">
                <a:solidFill>
                  <a:srgbClr val="F8766D"/>
                </a:solidFill>
              </a:rPr>
              <a:t>forecast</a:t>
            </a:r>
            <a:br>
              <a:rPr lang="de-DE" sz="1200" b="1" dirty="0">
                <a:solidFill>
                  <a:srgbClr val="F8766D"/>
                </a:solidFill>
              </a:rPr>
            </a:br>
            <a:r>
              <a:rPr lang="de-DE" sz="1200" b="1" dirty="0">
                <a:solidFill>
                  <a:srgbClr val="F8766D"/>
                </a:solidFill>
              </a:rPr>
              <a:t>(</a:t>
            </a:r>
            <a:r>
              <a:rPr lang="de-DE" sz="1200" b="1" dirty="0" err="1">
                <a:solidFill>
                  <a:srgbClr val="F8766D"/>
                </a:solidFill>
              </a:rPr>
              <a:t>for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demonstration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purposes</a:t>
            </a:r>
            <a:r>
              <a:rPr lang="de-DE" sz="1200" b="1" dirty="0">
                <a:solidFill>
                  <a:srgbClr val="F8766D"/>
                </a:solidFill>
              </a:rPr>
              <a:t> </a:t>
            </a:r>
            <a:r>
              <a:rPr lang="de-DE" sz="1200" b="1" dirty="0" err="1">
                <a:solidFill>
                  <a:srgbClr val="F8766D"/>
                </a:solidFill>
              </a:rPr>
              <a:t>only</a:t>
            </a:r>
            <a:r>
              <a:rPr lang="de-DE" sz="1200" b="1" dirty="0">
                <a:solidFill>
                  <a:srgbClr val="F8766D"/>
                </a:solidFill>
              </a:rPr>
              <a:t>)</a:t>
            </a:r>
            <a:endParaRPr lang="en-US" sz="1200" b="1" dirty="0" err="1">
              <a:solidFill>
                <a:srgbClr val="F8766D"/>
              </a:solidFill>
            </a:endParaRPr>
          </a:p>
        </p:txBody>
      </p:sp>
      <p:pic>
        <p:nvPicPr>
          <p:cNvPr id="28" name="Graphic 27" descr="Line arrow Counter clockwise curve">
            <a:extLst>
              <a:ext uri="{FF2B5EF4-FFF2-40B4-BE49-F238E27FC236}">
                <a16:creationId xmlns:a16="http://schemas.microsoft.com/office/drawing/2014/main" id="{0CC12192-D018-4E13-B07E-F79108C2A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4681387">
            <a:off x="8041641" y="1344260"/>
            <a:ext cx="586104" cy="58610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AB9E100-41B0-47CE-9948-D24D73A3DA4F}"/>
              </a:ext>
            </a:extLst>
          </p:cNvPr>
          <p:cNvSpPr txBox="1"/>
          <p:nvPr/>
        </p:nvSpPr>
        <p:spPr>
          <a:xfrm>
            <a:off x="8385962" y="3987338"/>
            <a:ext cx="3320248" cy="14682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de-DE" sz="1600" b="1" dirty="0"/>
              <a:t>Error </a:t>
            </a:r>
            <a:r>
              <a:rPr lang="de-DE" sz="1600" b="1" dirty="0" err="1"/>
              <a:t>distribution</a:t>
            </a:r>
            <a:r>
              <a:rPr lang="de-DE" sz="1600" b="1" dirty="0"/>
              <a:t> </a:t>
            </a:r>
            <a:r>
              <a:rPr lang="de-DE" sz="1600" b="1" dirty="0" err="1"/>
              <a:t>models</a:t>
            </a:r>
            <a:endParaRPr lang="de-DE" sz="1600" b="1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Skew</a:t>
            </a:r>
            <a:r>
              <a:rPr lang="de-DE" sz="1600" dirty="0"/>
              <a:t>-normal </a:t>
            </a:r>
            <a:r>
              <a:rPr lang="de-DE" sz="1600" dirty="0" err="1"/>
              <a:t>distribution</a:t>
            </a:r>
            <a:endParaRPr lang="de-DE" sz="1600" dirty="0"/>
          </a:p>
          <a:p>
            <a:pPr marL="285750" indent="-285750" algn="l"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Raw </a:t>
            </a:r>
            <a:r>
              <a:rPr lang="de-DE" sz="1600" dirty="0" err="1"/>
              <a:t>quantiles</a:t>
            </a:r>
            <a:endParaRPr lang="de-DE" sz="1600" dirty="0"/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99FB1F9-827B-4978-B5A6-80279B2D7C0E}"/>
              </a:ext>
            </a:extLst>
          </p:cNvPr>
          <p:cNvSpPr/>
          <p:nvPr/>
        </p:nvSpPr>
        <p:spPr>
          <a:xfrm>
            <a:off x="4893634" y="2021331"/>
            <a:ext cx="297712" cy="502172"/>
          </a:xfrm>
          <a:prstGeom prst="rightBrace">
            <a:avLst>
              <a:gd name="adj1" fmla="val 29761"/>
              <a:gd name="adj2" fmla="val 51059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FB50AF-629C-4DDB-957A-37630C29F8AF}"/>
              </a:ext>
            </a:extLst>
          </p:cNvPr>
          <p:cNvSpPr txBox="1"/>
          <p:nvPr/>
        </p:nvSpPr>
        <p:spPr>
          <a:xfrm>
            <a:off x="5329569" y="2126471"/>
            <a:ext cx="178095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Forecast Error</a:t>
            </a:r>
            <a:endParaRPr lang="en-US" sz="1400" b="1" dirty="0" err="1">
              <a:solidFill>
                <a:srgbClr val="3A706D"/>
              </a:solidFill>
            </a:endParaRPr>
          </a:p>
        </p:txBody>
      </p:sp>
      <p:pic>
        <p:nvPicPr>
          <p:cNvPr id="16" name="Graphic 15" descr="Line arrow Clockwise curve">
            <a:extLst>
              <a:ext uri="{FF2B5EF4-FFF2-40B4-BE49-F238E27FC236}">
                <a16:creationId xmlns:a16="http://schemas.microsoft.com/office/drawing/2014/main" id="{8495F179-C41B-477E-AEC5-0068DEFF9E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8249912">
            <a:off x="7242222" y="4092176"/>
            <a:ext cx="1029756" cy="1029756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172E953D-FE90-4E0D-A3B0-D25E4C4B88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7736" y="2948808"/>
            <a:ext cx="6318825" cy="3600719"/>
          </a:xfrm>
          <a:prstGeom prst="rect">
            <a:avLst/>
          </a:prstGeom>
        </p:spPr>
      </p:pic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F3B520A4-FE6D-461D-B614-8B3CEC6C8C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6509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Scenarios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FDBA3D-049C-409D-9400-8D3F33C865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4494" y="1455174"/>
            <a:ext cx="8330024" cy="499801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BD4DED2-8E40-4D1F-803B-53A3907123CC}"/>
              </a:ext>
            </a:extLst>
          </p:cNvPr>
          <p:cNvSpPr/>
          <p:nvPr/>
        </p:nvSpPr>
        <p:spPr>
          <a:xfrm>
            <a:off x="4957048" y="3554402"/>
            <a:ext cx="1156892" cy="2577830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2EBC0FC-09A6-44BB-9E8D-DA88FB38FF38}"/>
              </a:ext>
            </a:extLst>
          </p:cNvPr>
          <p:cNvSpPr/>
          <p:nvPr/>
        </p:nvSpPr>
        <p:spPr>
          <a:xfrm>
            <a:off x="7312717" y="4760915"/>
            <a:ext cx="916884" cy="1488332"/>
          </a:xfrm>
          <a:prstGeom prst="ellipse">
            <a:avLst/>
          </a:prstGeom>
          <a:noFill/>
          <a:ln w="19050" cmpd="sng">
            <a:solidFill>
              <a:srgbClr val="2F728A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2935F5-A939-4210-BB36-F49CC82D0F52}"/>
              </a:ext>
            </a:extLst>
          </p:cNvPr>
          <p:cNvSpPr txBox="1"/>
          <p:nvPr/>
        </p:nvSpPr>
        <p:spPr>
          <a:xfrm>
            <a:off x="9377464" y="1595336"/>
            <a:ext cx="2311788" cy="248645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nment</a:t>
            </a:r>
            <a:r>
              <a:rPr lang="de-DE" sz="1600" dirty="0"/>
              <a:t> </a:t>
            </a:r>
            <a:r>
              <a:rPr lang="de-DE" sz="1600" dirty="0" err="1"/>
              <a:t>began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1970s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ordics</a:t>
            </a:r>
            <a:endParaRPr lang="de-DE" sz="1600" dirty="0"/>
          </a:p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Consensus </a:t>
            </a:r>
            <a:r>
              <a:rPr lang="de-DE" sz="1600" dirty="0" err="1"/>
              <a:t>among</a:t>
            </a:r>
            <a:r>
              <a:rPr lang="de-DE" sz="1600" dirty="0"/>
              <a:t> </a:t>
            </a:r>
            <a:r>
              <a:rPr lang="de-DE" sz="1600" dirty="0" err="1"/>
              <a:t>researchers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ast</a:t>
            </a:r>
            <a:r>
              <a:rPr lang="de-DE" sz="1600" dirty="0"/>
              <a:t> on </a:t>
            </a:r>
            <a:r>
              <a:rPr lang="de-DE" sz="1600" dirty="0" err="1"/>
              <a:t>slowing</a:t>
            </a:r>
            <a:r>
              <a:rPr lang="de-DE" sz="1600" dirty="0"/>
              <a:t> dow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and ist </a:t>
            </a:r>
            <a:r>
              <a:rPr lang="de-DE" sz="1600" dirty="0" err="1"/>
              <a:t>effects</a:t>
            </a:r>
            <a:endParaRPr lang="de-DE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50D2BA-35E9-40BF-A71F-0203E0FFB381}"/>
              </a:ext>
            </a:extLst>
          </p:cNvPr>
          <p:cNvSpPr txBox="1"/>
          <p:nvPr/>
        </p:nvSpPr>
        <p:spPr>
          <a:xfrm>
            <a:off x="9427306" y="4453956"/>
            <a:ext cx="2311788" cy="16015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b="1" dirty="0" err="1">
                <a:solidFill>
                  <a:srgbClr val="3A706D"/>
                </a:solidFill>
              </a:rPr>
              <a:t>Application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of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scenario-base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method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to</a:t>
            </a:r>
            <a:r>
              <a:rPr lang="de-DE" b="1" dirty="0">
                <a:solidFill>
                  <a:srgbClr val="3A706D"/>
                </a:solidFill>
              </a:rPr>
              <a:t> </a:t>
            </a:r>
            <a:r>
              <a:rPr lang="de-DE" b="1" dirty="0" err="1">
                <a:solidFill>
                  <a:srgbClr val="3A706D"/>
                </a:solidFill>
              </a:rPr>
              <a:t>fitting</a:t>
            </a:r>
            <a:r>
              <a:rPr lang="de-DE" b="1" dirty="0">
                <a:solidFill>
                  <a:srgbClr val="3A706D"/>
                </a:solidFill>
              </a:rPr>
              <a:t> time </a:t>
            </a:r>
            <a:r>
              <a:rPr lang="de-DE" b="1" dirty="0" err="1">
                <a:solidFill>
                  <a:srgbClr val="3A706D"/>
                </a:solidFill>
              </a:rPr>
              <a:t>periods</a:t>
            </a:r>
            <a:endParaRPr lang="en-US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en-US" sz="1600" dirty="0" err="1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AC5B10C-9043-4F27-A6AF-75FBC3E04982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7C16BED2-91A4-4896-AE4C-B5F687EF1F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228DD301-3D07-4818-B638-E57F2D0B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EC70DDBE-E895-40BC-83D8-FC71A9D36B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833375"/>
              </p:ext>
            </p:extLst>
          </p:nvPr>
        </p:nvGraphicFramePr>
        <p:xfrm>
          <a:off x="6371289" y="1669640"/>
          <a:ext cx="2033736" cy="17334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868">
                  <a:extLst>
                    <a:ext uri="{9D8B030D-6E8A-4147-A177-3AD203B41FA5}">
                      <a16:colId xmlns:a16="http://schemas.microsoft.com/office/drawing/2014/main" val="178070844"/>
                    </a:ext>
                  </a:extLst>
                </a:gridCol>
                <a:gridCol w="1016868">
                  <a:extLst>
                    <a:ext uri="{9D8B030D-6E8A-4147-A177-3AD203B41FA5}">
                      <a16:colId xmlns:a16="http://schemas.microsoft.com/office/drawing/2014/main" val="1978657045"/>
                    </a:ext>
                  </a:extLst>
                </a:gridCol>
              </a:tblGrid>
              <a:tr h="52803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Countr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Calibration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Years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164716"/>
                  </a:ext>
                </a:extLst>
              </a:tr>
              <a:tr h="287686">
                <a:tc>
                  <a:txBody>
                    <a:bodyPr/>
                    <a:lstStyle/>
                    <a:p>
                      <a:r>
                        <a:rPr lang="de-DE" sz="1200" dirty="0" err="1"/>
                        <a:t>Finlan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dirty="0"/>
                        <a:t>1969 - 2017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2766130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Swed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921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93628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dirty="0" err="1"/>
                        <a:t>Denmark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946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259236"/>
                  </a:ext>
                </a:extLst>
              </a:tr>
              <a:tr h="305923">
                <a:tc>
                  <a:txBody>
                    <a:bodyPr/>
                    <a:lstStyle/>
                    <a:p>
                      <a:r>
                        <a:rPr lang="de-DE" sz="1200" i="0" dirty="0" err="1"/>
                        <a:t>Norway</a:t>
                      </a:r>
                      <a:endParaRPr lang="en-US" sz="12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1997 -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2250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967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6776CD-9B23-458E-9BAD-314BE0CDAB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59149"/>
            <a:ext cx="10296524" cy="4948851"/>
          </a:xfrm>
        </p:spPr>
        <p:txBody>
          <a:bodyPr/>
          <a:lstStyle/>
          <a:p>
            <a:r>
              <a:rPr lang="de-DE" dirty="0" err="1"/>
              <a:t>Keilman</a:t>
            </a:r>
            <a:r>
              <a:rPr lang="de-DE" dirty="0"/>
              <a:t> &amp; Pham, </a:t>
            </a:r>
            <a:r>
              <a:rPr lang="de-DE" b="1" dirty="0"/>
              <a:t>2004</a:t>
            </a:r>
            <a:r>
              <a:rPr lang="de-DE" dirty="0"/>
              <a:t>:</a:t>
            </a:r>
            <a:br>
              <a:rPr lang="de-DE" dirty="0"/>
            </a:br>
            <a:r>
              <a:rPr lang="en-US" i="1" dirty="0"/>
              <a:t>Time Series Based Errors and Empirical Errors in Fertility Forecasts in the Nordic Countries.</a:t>
            </a:r>
            <a:br>
              <a:rPr lang="en-US" i="1" dirty="0"/>
            </a:br>
            <a:r>
              <a:rPr lang="en-US" dirty="0"/>
              <a:t>International Statistical Review. </a:t>
            </a:r>
            <a:r>
              <a:rPr lang="en-US" sz="1400" dirty="0">
                <a:hlinkClick r:id="rId2"/>
              </a:rPr>
              <a:t>https://doi.org/10.1111/j.1751-5823.2004.tb00220.x</a:t>
            </a:r>
            <a:endParaRPr lang="en-US" sz="1400" dirty="0"/>
          </a:p>
          <a:p>
            <a:endParaRPr lang="de-DE" sz="1400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Publications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937-E037-46A8-8CD6-7F01E5FA35B4}"/>
              </a:ext>
            </a:extLst>
          </p:cNvPr>
          <p:cNvSpPr/>
          <p:nvPr/>
        </p:nvSpPr>
        <p:spPr>
          <a:xfrm>
            <a:off x="6867728" y="4034865"/>
            <a:ext cx="1040859" cy="807395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3CEDE5-2B58-45B3-9B26-98460453A20C}"/>
              </a:ext>
            </a:extLst>
          </p:cNvPr>
          <p:cNvSpPr/>
          <p:nvPr/>
        </p:nvSpPr>
        <p:spPr>
          <a:xfrm>
            <a:off x="8083685" y="5094051"/>
            <a:ext cx="1076527" cy="1063558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59CE01-37FB-441A-A379-25DD85CAD791}"/>
              </a:ext>
            </a:extLst>
          </p:cNvPr>
          <p:cNvSpPr/>
          <p:nvPr/>
        </p:nvSpPr>
        <p:spPr>
          <a:xfrm>
            <a:off x="3839183" y="3178831"/>
            <a:ext cx="4513634" cy="1712068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ctr"/>
            <a:r>
              <a:rPr lang="de-DE" sz="2800" dirty="0" err="1">
                <a:solidFill>
                  <a:schemeClr val="bg1"/>
                </a:solidFill>
              </a:rPr>
              <a:t>Estima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of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error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distribution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rom</a:t>
            </a:r>
            <a:r>
              <a:rPr lang="de-DE" sz="2800" dirty="0">
                <a:solidFill>
                  <a:schemeClr val="bg1"/>
                </a:solidFill>
              </a:rPr>
              <a:t> real </a:t>
            </a:r>
            <a:r>
              <a:rPr lang="de-DE" sz="2800" dirty="0" err="1">
                <a:solidFill>
                  <a:schemeClr val="bg1"/>
                </a:solidFill>
              </a:rPr>
              <a:t>historical</a:t>
            </a:r>
            <a:r>
              <a:rPr lang="de-DE" sz="2800" dirty="0">
                <a:solidFill>
                  <a:schemeClr val="bg1"/>
                </a:solidFill>
              </a:rPr>
              <a:t> </a:t>
            </a:r>
            <a:r>
              <a:rPr lang="de-DE" sz="2800" dirty="0" err="1">
                <a:solidFill>
                  <a:schemeClr val="bg1"/>
                </a:solidFill>
              </a:rPr>
              <a:t>forecasts</a:t>
            </a:r>
            <a:endParaRPr lang="en-US" sz="28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D255F4-C901-4E51-A2C3-548D1F6D6B5E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F1CE417-8D2F-4403-9434-967B3228B8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4BAE358-F9DD-4EAF-8C95-F461D00F7F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3838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4BC9C0B0-5797-4769-A591-E8D52031EF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 err="1"/>
              <a:t>Preliminary</a:t>
            </a:r>
            <a:r>
              <a:rPr lang="de-DE" sz="2800" dirty="0"/>
              <a:t> </a:t>
            </a:r>
            <a:r>
              <a:rPr lang="de-DE" sz="2800" dirty="0" err="1"/>
              <a:t>Results</a:t>
            </a:r>
            <a:endParaRPr lang="de-DE" sz="2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86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4" y="574576"/>
            <a:ext cx="10296519" cy="5708848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0F34DE-5370-4723-9C6B-CF12A861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0695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0F34DE-5370-4723-9C6B-CF12A861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6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0763B1-BF78-4D03-AD7D-BA770D2C9D3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ee </a:t>
            </a:r>
            <a:r>
              <a:rPr lang="de-DE" dirty="0" err="1"/>
              <a:t>carter</a:t>
            </a:r>
            <a:r>
              <a:rPr lang="de-DE" dirty="0"/>
              <a:t> </a:t>
            </a:r>
            <a:r>
              <a:rPr lang="de-DE" dirty="0" err="1"/>
              <a:t>forecast</a:t>
            </a:r>
            <a:r>
              <a:rPr lang="de-DE" dirty="0"/>
              <a:t> all countries</a:t>
            </a:r>
          </a:p>
        </p:txBody>
      </p:sp>
    </p:spTree>
    <p:extLst>
      <p:ext uri="{BB962C8B-B14F-4D97-AF65-F5344CB8AC3E}">
        <p14:creationId xmlns:p14="http://schemas.microsoft.com/office/powerpoint/2010/main" val="682070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0C156B3-14A9-4E4D-85E9-75523B9E5FB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744" y="698401"/>
            <a:ext cx="10296519" cy="5708847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0473C2-6BED-4126-908C-496BB231C2C6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F0EA502-58F3-4BC3-8BAB-130D658481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46605181-CD8B-49D2-89C9-6A73513D37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2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7003DDD-9E57-4B05-B030-48D73B2C5452}"/>
              </a:ext>
            </a:extLst>
          </p:cNvPr>
          <p:cNvSpPr/>
          <p:nvPr/>
        </p:nvSpPr>
        <p:spPr>
          <a:xfrm>
            <a:off x="9714568" y="1524000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80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B19471-8DBE-4F45-AAD8-5EA31B08035C}"/>
              </a:ext>
            </a:extLst>
          </p:cNvPr>
          <p:cNvSpPr/>
          <p:nvPr/>
        </p:nvSpPr>
        <p:spPr>
          <a:xfrm>
            <a:off x="9714568" y="562927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E7AE0A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20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EB4DECE-3B73-4CAF-87F4-F931618DA0DA}"/>
              </a:ext>
            </a:extLst>
          </p:cNvPr>
          <p:cNvSpPr/>
          <p:nvPr/>
        </p:nvSpPr>
        <p:spPr>
          <a:xfrm>
            <a:off x="9714568" y="4752975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32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F33C17B-4B68-4BAC-944D-9D9270B4783F}"/>
              </a:ext>
            </a:extLst>
          </p:cNvPr>
          <p:cNvSpPr/>
          <p:nvPr/>
        </p:nvSpPr>
        <p:spPr>
          <a:xfrm>
            <a:off x="9714568" y="3324224"/>
            <a:ext cx="457200" cy="228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cmpd="sng">
            <a:solidFill>
              <a:srgbClr val="984EA3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rtlCol="0" anchor="t" anchorCtr="0"/>
          <a:lstStyle/>
          <a:p>
            <a:pPr algn="ctr">
              <a:buClr>
                <a:srgbClr val="116656"/>
              </a:buClr>
              <a:buSzPct val="120000"/>
            </a:pPr>
            <a:r>
              <a:rPr lang="de-DE" sz="1500" dirty="0"/>
              <a:t>1.54</a:t>
            </a:r>
          </a:p>
        </p:txBody>
      </p:sp>
    </p:spTree>
    <p:extLst>
      <p:ext uri="{BB962C8B-B14F-4D97-AF65-F5344CB8AC3E}">
        <p14:creationId xmlns:p14="http://schemas.microsoft.com/office/powerpoint/2010/main" val="38787264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DC5320B-B042-48AF-B0F9-E3AD20E9B34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700" t="46001" r="26700" b="14833"/>
          <a:stretch/>
        </p:blipFill>
        <p:spPr>
          <a:xfrm>
            <a:off x="1209674" y="2028826"/>
            <a:ext cx="9784389" cy="4067174"/>
          </a:xfrm>
          <a:prstGeom prst="rect">
            <a:avLst/>
          </a:prstGeom>
        </p:spPr>
      </p:pic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/>
            </a:pPr>
            <a:endParaRPr kumimoji="0" lang="de-DE" sz="1600" b="1" i="0" u="none" strike="noStrike" kern="600" cap="none" spc="4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3B3142-94D0-4A6F-9F65-3FABB800E9F7}"/>
              </a:ext>
            </a:extLst>
          </p:cNvPr>
          <p:cNvSpPr/>
          <p:nvPr/>
        </p:nvSpPr>
        <p:spPr>
          <a:xfrm>
            <a:off x="1187541" y="2034683"/>
            <a:ext cx="9806660" cy="4093029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4776923" y="2446729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carda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</a:t>
            </a:r>
            <a:endParaRPr lang="de-DE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de-DE" dirty="0">
                <a:solidFill>
                  <a:srgbClr val="000000"/>
                </a:solidFill>
                <a:latin typeface="Arial" panose="020B0604020202020204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erst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A3BE8AE-8253-0048-98E3-59AD98755973}"/>
              </a:ext>
            </a:extLst>
          </p:cNvPr>
          <p:cNvSpPr txBox="1"/>
          <p:nvPr/>
        </p:nvSpPr>
        <p:spPr>
          <a:xfrm>
            <a:off x="4691979" y="4311182"/>
            <a:ext cx="4331944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nas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öle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br>
              <a:rPr lang="de-DE" dirty="0">
                <a:solidFill>
                  <a:srgbClr val="000000"/>
                </a:solidFill>
                <a:latin typeface="Arial" panose="020B0604020202020204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oeley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4D562ECC-A448-4D87-8502-35C35C12C1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1840089"/>
          </a:xfrm>
        </p:spPr>
        <p:txBody>
          <a:bodyPr anchor="ctr"/>
          <a:lstStyle/>
          <a:p>
            <a:pPr>
              <a:lnSpc>
                <a:spcPct val="150000"/>
              </a:lnSpc>
            </a:pPr>
            <a:r>
              <a:rPr lang="en-US" sz="2200" dirty="0"/>
              <a:t>Thank You for your Attention!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C40C71E-7DC3-468A-8333-5A7976C01865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FEEE43C-F712-4840-B0F2-EDE5B10437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  <p:sp>
        <p:nvSpPr>
          <p:cNvPr id="15" name="Textfeld 16">
            <a:extLst>
              <a:ext uri="{FF2B5EF4-FFF2-40B4-BE49-F238E27FC236}">
                <a16:creationId xmlns:a16="http://schemas.microsoft.com/office/drawing/2014/main" id="{FB6C9C68-198B-4B68-9768-9DE045D72A4B}"/>
              </a:ext>
            </a:extLst>
          </p:cNvPr>
          <p:cNvSpPr txBox="1"/>
          <p:nvPr/>
        </p:nvSpPr>
        <p:spPr>
          <a:xfrm>
            <a:off x="7788382" y="2477507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ia Hellstr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j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lia.hellstrand@helsinki.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feld 16">
            <a:extLst>
              <a:ext uri="{FF2B5EF4-FFF2-40B4-BE49-F238E27FC236}">
                <a16:creationId xmlns:a16="http://schemas.microsoft.com/office/drawing/2014/main" id="{72938D6A-148F-4CE8-BD9C-18C09782572E}"/>
              </a:ext>
            </a:extLst>
          </p:cNvPr>
          <p:cNvSpPr txBox="1"/>
          <p:nvPr/>
        </p:nvSpPr>
        <p:spPr>
          <a:xfrm>
            <a:off x="1848766" y="4038543"/>
            <a:ext cx="3187593" cy="172354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ssica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sén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C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urku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University of Helsinki</a:t>
            </a:r>
            <a:br>
              <a:rPr lang="en-US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j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sica.nisen@ut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feld 16">
            <a:extLst>
              <a:ext uri="{FF2B5EF4-FFF2-40B4-BE49-F238E27FC236}">
                <a16:creationId xmlns:a16="http://schemas.microsoft.com/office/drawing/2014/main" id="{D09060EF-718D-49C5-AB9D-7C0CA5905C81}"/>
              </a:ext>
            </a:extLst>
          </p:cNvPr>
          <p:cNvSpPr txBox="1"/>
          <p:nvPr/>
        </p:nvSpPr>
        <p:spPr>
          <a:xfrm>
            <a:off x="7806320" y="4315542"/>
            <a:ext cx="3187593" cy="144655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kk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6C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rskylä</a:t>
            </a:r>
            <a:endParaRPr lang="de-DE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lsinki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ID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rskylä@demogr.mpg.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236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1F21C1-6E70-409F-AF5E-72461FCD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FD7D36-2BF2-43FC-AACA-917C70E67289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4F952C2-1209-429B-8C8B-C3CD0BE967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32EDE64-6B78-4004-81C1-81E995A199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6062" y="1455174"/>
            <a:ext cx="8330024" cy="499801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009B387-2A31-4C06-B7D2-293E22B136A3}"/>
              </a:ext>
            </a:extLst>
          </p:cNvPr>
          <p:cNvSpPr/>
          <p:nvPr/>
        </p:nvSpPr>
        <p:spPr>
          <a:xfrm>
            <a:off x="8234487" y="4954040"/>
            <a:ext cx="1672837" cy="120027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F95A25-9F18-4235-A129-425724CA6C4D}"/>
              </a:ext>
            </a:extLst>
          </p:cNvPr>
          <p:cNvSpPr txBox="1"/>
          <p:nvPr/>
        </p:nvSpPr>
        <p:spPr>
          <a:xfrm>
            <a:off x="7903529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10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82C5EA-D59A-46AE-9985-24AC62493719}"/>
              </a:ext>
            </a:extLst>
          </p:cNvPr>
          <p:cNvSpPr txBox="1"/>
          <p:nvPr/>
        </p:nvSpPr>
        <p:spPr>
          <a:xfrm>
            <a:off x="8539922" y="6075937"/>
            <a:ext cx="661916" cy="2468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700" dirty="0">
                <a:latin typeface="Roboto" panose="02000000000000000000" pitchFamily="2" charset="0"/>
                <a:ea typeface="Roboto" panose="02000000000000000000" pitchFamily="2" charset="0"/>
              </a:rPr>
              <a:t>2022</a:t>
            </a:r>
            <a:endParaRPr lang="en-US" sz="1600" dirty="0" err="1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41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6C8A47-70DA-4E21-8066-0E5A305454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15311" y="2092998"/>
            <a:ext cx="4380687" cy="4310912"/>
          </a:xfrm>
        </p:spPr>
        <p:txBody>
          <a:bodyPr/>
          <a:lstStyle/>
          <a:p>
            <a:r>
              <a:rPr lang="de-DE" b="1" dirty="0" err="1"/>
              <a:t>What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needed</a:t>
            </a:r>
            <a:r>
              <a:rPr lang="de-DE" b="1" dirty="0"/>
              <a:t>?</a:t>
            </a:r>
          </a:p>
          <a:p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Forecasts </a:t>
            </a:r>
            <a:r>
              <a:rPr lang="de-DE" dirty="0" err="1"/>
              <a:t>of</a:t>
            </a:r>
            <a:r>
              <a:rPr lang="de-DE" dirty="0"/>
              <a:t> Nordic </a:t>
            </a:r>
            <a:r>
              <a:rPr lang="de-DE" dirty="0" err="1"/>
              <a:t>Fertility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W</a:t>
            </a:r>
            <a:r>
              <a:rPr lang="en-US" dirty="0" err="1"/>
              <a:t>ith</a:t>
            </a:r>
            <a:r>
              <a:rPr lang="en-US" dirty="0"/>
              <a:t> sensible prediction intervals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DECF3-B7EF-4CC6-B711-55270A6D98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2097088"/>
            <a:ext cx="4380689" cy="4310912"/>
          </a:xfrm>
        </p:spPr>
        <p:txBody>
          <a:bodyPr/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b="1" dirty="0" err="1"/>
              <a:t>What</a:t>
            </a:r>
            <a:r>
              <a:rPr lang="de-DE" b="1" dirty="0"/>
              <a:t> do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have</a:t>
            </a:r>
            <a:r>
              <a:rPr lang="de-DE" b="1" dirty="0"/>
              <a:t>?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/>
              <a:t>A </a:t>
            </a:r>
            <a:r>
              <a:rPr lang="de-DE" dirty="0" err="1"/>
              <a:t>varie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orecast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ifferent </a:t>
            </a:r>
            <a:r>
              <a:rPr lang="de-DE" dirty="0" err="1"/>
              <a:t>types</a:t>
            </a:r>
            <a:endParaRPr lang="de-DE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/>
              <a:t>With</a:t>
            </a:r>
            <a:r>
              <a:rPr lang="de-DE" dirty="0"/>
              <a:t> model-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ually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narrow</a:t>
            </a:r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ertilit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Nordic Countrie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4334674-63FB-45BF-B15F-841F1C7F26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7536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FE4F1B2-5F2C-42B3-BA75-D0CBE66CD41E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19202403"/>
              </p:ext>
            </p:extLst>
          </p:nvPr>
        </p:nvGraphicFramePr>
        <p:xfrm>
          <a:off x="328474" y="224812"/>
          <a:ext cx="11514338" cy="61839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4DA95F5-BC11-4AA4-8A14-5A2054694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4280" y="813262"/>
            <a:ext cx="4079982" cy="1283824"/>
          </a:xfrm>
        </p:spPr>
        <p:txBody>
          <a:bodyPr/>
          <a:lstStyle/>
          <a:p>
            <a:r>
              <a:rPr lang="de-DE" dirty="0"/>
              <a:t>Research Plan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355D12-2DD5-4AAD-9D49-D2480642C10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A7A8C41-416E-4F11-82F3-1A63B314BA7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10197BF-576B-4E0B-AD7B-FE1AF6BBF6FC}"/>
              </a:ext>
            </a:extLst>
          </p:cNvPr>
          <p:cNvSpPr/>
          <p:nvPr/>
        </p:nvSpPr>
        <p:spPr>
          <a:xfrm>
            <a:off x="3750659" y="4267336"/>
            <a:ext cx="8112867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71E8A1-1714-43D9-8CD1-9C7700AD8584}"/>
              </a:ext>
            </a:extLst>
          </p:cNvPr>
          <p:cNvSpPr/>
          <p:nvPr/>
        </p:nvSpPr>
        <p:spPr>
          <a:xfrm>
            <a:off x="1210158" y="2136711"/>
            <a:ext cx="8607073" cy="218683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9D53C45D-DBB8-4E3D-A8BE-69458C36DF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313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405ED77-EA47-4228-8CB7-F7502E89C2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/>
              <a:t>Forecast Model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8330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de-DE" dirty="0" err="1"/>
              <a:t>Nisén</a:t>
            </a:r>
            <a:r>
              <a:rPr lang="de-DE" dirty="0"/>
              <a:t>, Hellstrand, </a:t>
            </a:r>
            <a:r>
              <a:rPr lang="de-DE" dirty="0" err="1"/>
              <a:t>Martikainen</a:t>
            </a:r>
            <a:r>
              <a:rPr lang="de-DE" dirty="0"/>
              <a:t>, Myrskylä, </a:t>
            </a:r>
            <a:r>
              <a:rPr lang="de-DE" b="1" dirty="0"/>
              <a:t>2020</a:t>
            </a:r>
            <a:r>
              <a:rPr lang="de-DE" dirty="0"/>
              <a:t>:</a:t>
            </a:r>
          </a:p>
          <a:p>
            <a:r>
              <a:rPr lang="fi-FI" i="1" dirty="0"/>
              <a:t>Hedelmällisyys ja siihen vaikuttavat tekijät Suomessa lähivuosikymmeninä.</a:t>
            </a:r>
          </a:p>
          <a:p>
            <a:r>
              <a:rPr lang="en-US" dirty="0" err="1"/>
              <a:t>Yhteiskuntapolitiikka</a:t>
            </a:r>
            <a:r>
              <a:rPr lang="en-US" i="1" dirty="0"/>
              <a:t>. </a:t>
            </a:r>
            <a:r>
              <a:rPr lang="en-US" sz="1400" dirty="0">
                <a:hlinkClick r:id="rId2"/>
              </a:rPr>
              <a:t>https://urn.fi/URN:NBN:fi-fe2020091669848</a:t>
            </a:r>
            <a:r>
              <a:rPr lang="en-US" sz="1400" dirty="0"/>
              <a:t> </a:t>
            </a:r>
            <a:endParaRPr lang="en-US" i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ostponement</a:t>
            </a:r>
            <a:r>
              <a:rPr lang="de-DE" dirty="0"/>
              <a:t> Scenario (PPS)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34D7D-58A4-4FB2-9E95-9929B30C9658}"/>
              </a:ext>
            </a:extLst>
          </p:cNvPr>
          <p:cNvSpPr txBox="1"/>
          <p:nvPr/>
        </p:nvSpPr>
        <p:spPr>
          <a:xfrm>
            <a:off x="9571107" y="1268658"/>
            <a:ext cx="2355004" cy="942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400" dirty="0"/>
              <a:t>Fertility and its determinants in the coming decades in Finland </a:t>
            </a:r>
          </a:p>
        </p:txBody>
      </p:sp>
      <p:pic>
        <p:nvPicPr>
          <p:cNvPr id="7" name="Graphic 6" descr="Line arrow Counter clockwise curve">
            <a:extLst>
              <a:ext uri="{FF2B5EF4-FFF2-40B4-BE49-F238E27FC236}">
                <a16:creationId xmlns:a16="http://schemas.microsoft.com/office/drawing/2014/main" id="{A87A565E-B8EC-4660-A056-EF21AD447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5974353">
            <a:off x="8884113" y="1409329"/>
            <a:ext cx="619612" cy="6196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3F813E-AF8D-4E93-8ED9-9541786EC7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2977321"/>
            <a:ext cx="3691487" cy="32087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D5124B-2BBE-4A8F-BC72-B7B1656093EB}"/>
              </a:ext>
            </a:extLst>
          </p:cNvPr>
          <p:cNvSpPr txBox="1"/>
          <p:nvPr/>
        </p:nvSpPr>
        <p:spPr>
          <a:xfrm>
            <a:off x="4980562" y="3103123"/>
            <a:ext cx="6449438" cy="17554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dirty="0" err="1">
                <a:solidFill>
                  <a:srgbClr val="3A706D"/>
                </a:solidFill>
              </a:rPr>
              <a:t>Assumption</a:t>
            </a:r>
            <a:endParaRPr lang="de-DE" sz="1600" b="1" dirty="0">
              <a:solidFill>
                <a:srgbClr val="3A706D"/>
              </a:solidFill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Fertility</a:t>
            </a:r>
            <a:r>
              <a:rPr lang="de-DE" sz="1600" dirty="0"/>
              <a:t> </a:t>
            </a:r>
            <a:r>
              <a:rPr lang="de-DE" sz="1600" dirty="0" err="1"/>
              <a:t>postponement</a:t>
            </a:r>
            <a:r>
              <a:rPr lang="de-DE" sz="1600" dirty="0"/>
              <a:t> will </a:t>
            </a:r>
            <a:r>
              <a:rPr lang="de-DE" sz="1600" dirty="0" err="1"/>
              <a:t>continue</a:t>
            </a:r>
            <a:r>
              <a:rPr lang="de-DE" sz="1600" dirty="0"/>
              <a:t>, but </a:t>
            </a:r>
            <a:r>
              <a:rPr lang="de-DE" sz="1600" dirty="0" err="1"/>
              <a:t>gradually</a:t>
            </a:r>
            <a:r>
              <a:rPr lang="de-DE" sz="1600" dirty="0"/>
              <a:t> slow down and </a:t>
            </a:r>
            <a:r>
              <a:rPr lang="de-DE" sz="1600" dirty="0" err="1"/>
              <a:t>eventually</a:t>
            </a:r>
            <a:r>
              <a:rPr lang="de-DE" sz="1600" dirty="0"/>
              <a:t> </a:t>
            </a:r>
            <a:r>
              <a:rPr lang="de-DE" sz="1600" dirty="0" err="1"/>
              <a:t>stop</a:t>
            </a:r>
            <a:r>
              <a:rPr lang="de-DE" sz="1600" dirty="0"/>
              <a:t> </a:t>
            </a:r>
            <a:r>
              <a:rPr lang="de-DE" sz="1600" dirty="0">
                <a:sym typeface="Wingdings" panose="05000000000000000000" pitchFamily="2" charset="2"/>
              </a:rPr>
              <a:t> tempo-</a:t>
            </a:r>
            <a:r>
              <a:rPr lang="de-DE" sz="1600" dirty="0" err="1">
                <a:sym typeface="Wingdings" panose="05000000000000000000" pitchFamily="2" charset="2"/>
              </a:rPr>
              <a:t>adjusted</a:t>
            </a:r>
            <a:r>
              <a:rPr lang="de-DE" sz="1600" dirty="0">
                <a:sym typeface="Wingdings" panose="05000000000000000000" pitchFamily="2" charset="2"/>
              </a:rPr>
              <a:t> TFR and TFR will </a:t>
            </a:r>
            <a:r>
              <a:rPr lang="de-DE" sz="1600" dirty="0" err="1">
                <a:sym typeface="Wingdings" panose="05000000000000000000" pitchFamily="2" charset="2"/>
              </a:rPr>
              <a:t>converg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by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end </a:t>
            </a:r>
            <a:r>
              <a:rPr lang="de-DE" sz="1600" dirty="0" err="1">
                <a:sym typeface="Wingdings" panose="05000000000000000000" pitchFamily="2" charset="2"/>
              </a:rPr>
              <a:t>of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the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forecast</a:t>
            </a:r>
            <a:r>
              <a:rPr lang="de-DE" sz="1600" dirty="0">
                <a:sym typeface="Wingdings" panose="05000000000000000000" pitchFamily="2" charset="2"/>
              </a:rPr>
              <a:t> </a:t>
            </a:r>
            <a:r>
              <a:rPr lang="de-DE" sz="1600" dirty="0" err="1">
                <a:sym typeface="Wingdings" panose="05000000000000000000" pitchFamily="2" charset="2"/>
              </a:rPr>
              <a:t>horizon</a:t>
            </a:r>
            <a:endParaRPr lang="de-DE" sz="1600" dirty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78F168E-FAAF-4B71-AA6D-1711A42BCD38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3E6C2B8-A587-4C5C-A242-5EE303DDB84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79D17CF-5368-4683-9317-037A80B405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0775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CF7245-3630-42FC-89D0-F14E39CFFA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r>
              <a:rPr lang="en-US" dirty="0"/>
              <a:t>Lee, </a:t>
            </a:r>
            <a:r>
              <a:rPr lang="en-US" b="1" dirty="0"/>
              <a:t>1993</a:t>
            </a:r>
            <a:r>
              <a:rPr lang="en-US" dirty="0"/>
              <a:t>:</a:t>
            </a:r>
          </a:p>
          <a:p>
            <a:r>
              <a:rPr lang="en-US" i="1" dirty="0"/>
              <a:t>Modeling and forecasting the time series of U.S. fertility: age distribution, range, and ultimate level.</a:t>
            </a:r>
          </a:p>
          <a:p>
            <a:pPr>
              <a:spcAft>
                <a:spcPts val="1200"/>
              </a:spcAft>
            </a:pPr>
            <a:r>
              <a:rPr lang="en-US" dirty="0"/>
              <a:t>International Journal of Forecasting. </a:t>
            </a:r>
            <a:r>
              <a:rPr lang="en-US" sz="1400" dirty="0">
                <a:hlinkClick r:id="rId2"/>
              </a:rPr>
              <a:t>https://www.sciencedirect.com/science/article/pii/0169207093900047</a:t>
            </a:r>
            <a:endParaRPr lang="de-DE" sz="1400" b="1" dirty="0">
              <a:solidFill>
                <a:srgbClr val="3A706D"/>
              </a:solidFill>
            </a:endParaRP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b="1" dirty="0">
                <a:solidFill>
                  <a:srgbClr val="3A706D"/>
                </a:solidFill>
              </a:rPr>
              <a:t>Method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Simple </a:t>
            </a:r>
            <a:r>
              <a:rPr lang="de-DE" sz="1400" dirty="0" err="1"/>
              <a:t>extrapolation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r>
              <a:rPr lang="de-DE" sz="1400" dirty="0"/>
              <a:t> </a:t>
            </a:r>
            <a:r>
              <a:rPr lang="de-DE" sz="1400" dirty="0" err="1"/>
              <a:t>based</a:t>
            </a:r>
            <a:r>
              <a:rPr lang="de-DE" sz="1400" dirty="0"/>
              <a:t> on </a:t>
            </a:r>
            <a:r>
              <a:rPr lang="de-DE" sz="1400" dirty="0" err="1"/>
              <a:t>age-specific</a:t>
            </a:r>
            <a:r>
              <a:rPr lang="de-DE" sz="1400" dirty="0"/>
              <a:t> </a:t>
            </a:r>
            <a:r>
              <a:rPr lang="de-DE" sz="1400" dirty="0" err="1"/>
              <a:t>fertility</a:t>
            </a:r>
            <a:r>
              <a:rPr lang="de-DE" sz="1400" dirty="0"/>
              <a:t> </a:t>
            </a:r>
            <a:r>
              <a:rPr lang="de-DE" sz="1400" dirty="0" err="1"/>
              <a:t>rates</a:t>
            </a:r>
            <a:endParaRPr lang="de-DE" sz="140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/>
              <a:t>A </a:t>
            </a:r>
            <a:r>
              <a:rPr lang="de-DE" sz="1400" dirty="0" err="1"/>
              <a:t>demographic</a:t>
            </a:r>
            <a:r>
              <a:rPr lang="de-DE" sz="1400" dirty="0"/>
              <a:t> classic, </a:t>
            </a:r>
            <a:r>
              <a:rPr lang="de-DE" sz="1400" dirty="0" err="1"/>
              <a:t>equivalent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Lee-Carter </a:t>
            </a:r>
            <a:r>
              <a:rPr lang="de-DE" sz="1400" dirty="0" err="1"/>
              <a:t>model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mortality</a:t>
            </a:r>
            <a:r>
              <a:rPr lang="de-DE" sz="1400" dirty="0"/>
              <a:t> (Lee, Carter, 1992)</a:t>
            </a:r>
          </a:p>
          <a:p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sz="1400" dirty="0"/>
              <a:t>As reference</a:t>
            </a:r>
            <a:br>
              <a:rPr lang="en-US" sz="1400" dirty="0"/>
            </a:br>
            <a:r>
              <a:rPr lang="en-US" sz="1400" dirty="0"/>
              <a:t>Last observed TFR is fix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6D722A-9305-4B91-8A5D-6383373FB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e-Carter Model (LC)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5505C3-A223-405F-A615-73336D7F04F7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39D3D3E5-4EE4-4B05-9388-21AFCA093D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F23E796-46C0-490A-8D53-0141F58DD0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B53A79EC-32AD-4CD8-AFF4-DB19C9A6A41C}"/>
              </a:ext>
            </a:extLst>
          </p:cNvPr>
          <p:cNvSpPr txBox="1">
            <a:spLocks/>
          </p:cNvSpPr>
          <p:nvPr/>
        </p:nvSpPr>
        <p:spPr>
          <a:xfrm>
            <a:off x="947737" y="4896072"/>
            <a:ext cx="10296524" cy="3714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Naive Foreca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721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25D0D7F-1980-415B-8AC7-D5881A1846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622" t="23926" r="23574" b="100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DAD7670-D559-4BEE-8FB0-A4AE1E47C7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sz="2800" dirty="0" err="1"/>
              <a:t>Empirical</a:t>
            </a:r>
            <a:r>
              <a:rPr lang="de-DE" sz="2800" dirty="0"/>
              <a:t> </a:t>
            </a:r>
            <a:r>
              <a:rPr lang="de-DE" sz="2800" dirty="0" err="1"/>
              <a:t>Prediction</a:t>
            </a:r>
            <a:r>
              <a:rPr lang="de-DE" sz="2800" dirty="0"/>
              <a:t> </a:t>
            </a:r>
            <a:r>
              <a:rPr lang="de-DE" sz="2800" dirty="0" err="1"/>
              <a:t>Intervals</a:t>
            </a:r>
            <a:endParaRPr lang="de-DE" sz="2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2A1EEEC-5F85-41B9-967B-DCD1233C90D1}"/>
              </a:ext>
            </a:extLst>
          </p:cNvPr>
          <p:cNvCxnSpPr/>
          <p:nvPr/>
        </p:nvCxnSpPr>
        <p:spPr>
          <a:xfrm>
            <a:off x="9101968" y="642777"/>
            <a:ext cx="0" cy="855677"/>
          </a:xfrm>
          <a:prstGeom prst="line">
            <a:avLst/>
          </a:prstGeom>
          <a:ln w="12700">
            <a:solidFill>
              <a:srgbClr val="757272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9C1738B3-5135-454F-866B-4E49C11909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37" r="9134" b="16618"/>
          <a:stretch/>
        </p:blipFill>
        <p:spPr>
          <a:xfrm>
            <a:off x="8121096" y="663186"/>
            <a:ext cx="964880" cy="8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946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71C58B3-31C0-488D-9A63-E61C1DD209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449421"/>
            <a:ext cx="10296524" cy="495857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F27D6AF-CCCD-48F1-883E-4B201F471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princi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F464BB7-4D9A-4BF7-A36D-1FF8F5D3493F}"/>
              </a:ext>
            </a:extLst>
          </p:cNvPr>
          <p:cNvCxnSpPr>
            <a:cxnSpLocks/>
          </p:cNvCxnSpPr>
          <p:nvPr/>
        </p:nvCxnSpPr>
        <p:spPr>
          <a:xfrm>
            <a:off x="10592998" y="213203"/>
            <a:ext cx="0" cy="451985"/>
          </a:xfrm>
          <a:prstGeom prst="line">
            <a:avLst/>
          </a:prstGeom>
          <a:ln w="6350">
            <a:solidFill>
              <a:srgbClr val="7D7A7A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9622411-F449-4284-AD31-7E02D77DE8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37" r="9134" b="16618"/>
          <a:stretch/>
        </p:blipFill>
        <p:spPr>
          <a:xfrm>
            <a:off x="10046086" y="211588"/>
            <a:ext cx="537114" cy="453600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EA9081D-5683-4514-8E33-8C1626DB8DE6}"/>
              </a:ext>
            </a:extLst>
          </p:cNvPr>
          <p:cNvSpPr/>
          <p:nvPr/>
        </p:nvSpPr>
        <p:spPr>
          <a:xfrm>
            <a:off x="3592286" y="2142274"/>
            <a:ext cx="5007428" cy="2412275"/>
          </a:xfrm>
          <a:prstGeom prst="round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b="1" dirty="0">
                <a:solidFill>
                  <a:schemeClr val="bg1"/>
                </a:solidFill>
              </a:rPr>
              <a:t>A forecast is only as precise as similar forecasts in the past turned out to be.</a:t>
            </a:r>
            <a:endParaRPr lang="de-DE" sz="2300" b="1" dirty="0">
              <a:solidFill>
                <a:schemeClr val="bg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AE4D7CE-E5B9-483A-B875-ADAA3037B867}"/>
              </a:ext>
            </a:extLst>
          </p:cNvPr>
          <p:cNvSpPr/>
          <p:nvPr/>
        </p:nvSpPr>
        <p:spPr>
          <a:xfrm>
            <a:off x="1124240" y="5247062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Calibr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CEA6899-DFFD-4484-97B9-6C4FDE43402B}"/>
              </a:ext>
            </a:extLst>
          </p:cNvPr>
          <p:cNvSpPr/>
          <p:nvPr/>
        </p:nvSpPr>
        <p:spPr>
          <a:xfrm>
            <a:off x="4861977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Valid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347B54C-6EC4-4EAE-B982-682A7C358485}"/>
              </a:ext>
            </a:extLst>
          </p:cNvPr>
          <p:cNvSpPr/>
          <p:nvPr/>
        </p:nvSpPr>
        <p:spPr>
          <a:xfrm>
            <a:off x="8533845" y="5247061"/>
            <a:ext cx="2468046" cy="581807"/>
          </a:xfrm>
          <a:prstGeom prst="roundRect">
            <a:avLst/>
          </a:prstGeom>
          <a:ln>
            <a:tailEnd type="triangle" w="lg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144000" tIns="108000" rIns="144000" bIns="144000" rtlCol="0" anchor="ctr" anchorCtr="0"/>
          <a:lstStyle/>
          <a:p>
            <a:pPr algn="ctr">
              <a:lnSpc>
                <a:spcPct val="150000"/>
              </a:lnSpc>
              <a:spcBef>
                <a:spcPts val="1150"/>
              </a:spcBef>
              <a:buClr>
                <a:srgbClr val="116656"/>
              </a:buClr>
              <a:buSzPct val="120000"/>
            </a:pPr>
            <a:r>
              <a:rPr lang="en-US" sz="2300" dirty="0">
                <a:solidFill>
                  <a:schemeClr val="bg1"/>
                </a:solidFill>
              </a:rPr>
              <a:t>Application</a:t>
            </a:r>
            <a:endParaRPr lang="de-DE" sz="2300" dirty="0">
              <a:solidFill>
                <a:schemeClr val="bg1"/>
              </a:solidFill>
            </a:endParaRPr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AE6C3713-8A87-4401-B75B-B4B40EED34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Helsinki, FLUX, </a:t>
            </a:r>
            <a:r>
              <a:rPr lang="de-DE" dirty="0" err="1"/>
              <a:t>MaxHel</a:t>
            </a:r>
            <a:r>
              <a:rPr lang="de-DE" dirty="0"/>
              <a:t> Center	 Duerst et al. |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Prediction</a:t>
            </a:r>
            <a:r>
              <a:rPr lang="de-DE" dirty="0"/>
              <a:t> </a:t>
            </a:r>
            <a:r>
              <a:rPr lang="de-DE" dirty="0" err="1"/>
              <a:t>Intervals</a:t>
            </a:r>
            <a:r>
              <a:rPr lang="de-DE" dirty="0"/>
              <a:t> | 18/01/2024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9968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6</Words>
  <Application>Microsoft Office PowerPoint</Application>
  <PresentationFormat>Widescreen</PresentationFormat>
  <Paragraphs>131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.SF NS Symbols Regular</vt:lpstr>
      <vt:lpstr>Arial</vt:lpstr>
      <vt:lpstr>Calibri</vt:lpstr>
      <vt:lpstr>Roboto</vt:lpstr>
      <vt:lpstr>Symbol</vt:lpstr>
      <vt:lpstr>Wingdings</vt:lpstr>
      <vt:lpstr>Wingdings 3</vt:lpstr>
      <vt:lpstr>MPG_2020</vt:lpstr>
      <vt:lpstr>think-cell Folie</vt:lpstr>
      <vt:lpstr>Empirical Prediction Intervals for Forecasts of Nordic Fertility  Preliminary Results of Work in Progress</vt:lpstr>
      <vt:lpstr>Fertility development in the Nordic Countries</vt:lpstr>
      <vt:lpstr>Fertility development in the Nordic Countries</vt:lpstr>
      <vt:lpstr>Research Plan</vt:lpstr>
      <vt:lpstr>Forecast Models</vt:lpstr>
      <vt:lpstr>Postponement Scenario (PPS)</vt:lpstr>
      <vt:lpstr>Lee-Carter Model (LC)</vt:lpstr>
      <vt:lpstr>Empirical Prediction Intervals</vt:lpstr>
      <vt:lpstr>The principle of empirical prediction intervals</vt:lpstr>
      <vt:lpstr>empirical prediction intervals from cross-validation</vt:lpstr>
      <vt:lpstr>empirical prediction intervals from cross-validation</vt:lpstr>
      <vt:lpstr>Empirical Prediction intervals For Scenarios</vt:lpstr>
      <vt:lpstr>Empirical Prediction intervals From Publications</vt:lpstr>
      <vt:lpstr>Preliminary Results</vt:lpstr>
      <vt:lpstr>PowerPoint Presentation</vt:lpstr>
      <vt:lpstr>PowerPoint Presentation</vt:lpstr>
      <vt:lpstr>PowerPoint Presentation</vt:lpstr>
      <vt:lpstr>Thank You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irical Prediction Intervals Applied to Short-term Mortality and Excess Deaths</dc:title>
  <dc:creator>Duerst, Ricarda</dc:creator>
  <cp:lastModifiedBy>Duerst, Ricarda</cp:lastModifiedBy>
  <cp:revision>154</cp:revision>
  <dcterms:created xsi:type="dcterms:W3CDTF">2023-09-29T11:59:37Z</dcterms:created>
  <dcterms:modified xsi:type="dcterms:W3CDTF">2024-01-17T14:20:39Z</dcterms:modified>
</cp:coreProperties>
</file>